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</p:sldMasterIdLst>
  <p:notesMasterIdLst>
    <p:notesMasterId r:id="rId18"/>
  </p:notesMasterIdLst>
  <p:sldIdLst>
    <p:sldId id="275" r:id="rId3"/>
    <p:sldId id="13488" r:id="rId4"/>
    <p:sldId id="13489" r:id="rId5"/>
    <p:sldId id="13490" r:id="rId6"/>
    <p:sldId id="13491" r:id="rId7"/>
    <p:sldId id="13502" r:id="rId8"/>
    <p:sldId id="13493" r:id="rId9"/>
    <p:sldId id="13494" r:id="rId10"/>
    <p:sldId id="13495" r:id="rId11"/>
    <p:sldId id="13496" r:id="rId12"/>
    <p:sldId id="13497" r:id="rId13"/>
    <p:sldId id="13498" r:id="rId14"/>
    <p:sldId id="13499" r:id="rId15"/>
    <p:sldId id="13500" r:id="rId16"/>
    <p:sldId id="13501" r:id="rId1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50"/>
    <a:srgbClr val="FF0000"/>
    <a:srgbClr val="E88C12"/>
    <a:srgbClr val="F3E7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64" autoAdjust="0"/>
    <p:restoredTop sz="95431" autoAdjust="0"/>
  </p:normalViewPr>
  <p:slideViewPr>
    <p:cSldViewPr snapToGrid="0" showGuides="1">
      <p:cViewPr varScale="1">
        <p:scale>
          <a:sx n="89" d="100"/>
          <a:sy n="89" d="100"/>
        </p:scale>
        <p:origin x="302" y="53"/>
      </p:cViewPr>
      <p:guideLst>
        <p:guide orient="horz" pos="2183"/>
        <p:guide pos="3863"/>
      </p:guideLst>
    </p:cSldViewPr>
  </p:slideViewPr>
  <p:outlineViewPr>
    <p:cViewPr>
      <p:scale>
        <a:sx n="33" d="100"/>
        <a:sy n="33" d="100"/>
      </p:scale>
      <p:origin x="0" y="-453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70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Users\dinghaochen\Desktop\&#25321;&#26102;&#25351;&#26631;&#20307;&#31995;\&#24773;&#32490;&#25351;&#26631;&#20998;&#25968;&#27719;&#24635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d:\Users\dinghaochen\Desktop\&#25321;&#26102;&#25351;&#26631;&#20307;&#31995;\&#23439;&#35266;&#20307;&#31995;&#25171;&#20998;%20-%20&#30011;&#22270;&#29256;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___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__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zh-CN" altLang="en-US"/>
              <a:t>情绪择时指标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5.2536285621905751E-2"/>
          <c:y val="4.6069581206413523E-2"/>
          <c:w val="0.9196658770290258"/>
          <c:h val="0.78235274511082609"/>
        </c:manualLayout>
      </c:layout>
      <c:lineChart>
        <c:grouping val="standard"/>
        <c:varyColors val="0"/>
        <c:ser>
          <c:idx val="0"/>
          <c:order val="0"/>
          <c:spPr>
            <a:ln w="19050">
              <a:solidFill>
                <a:srgbClr val="0070C0"/>
              </a:solidFill>
            </a:ln>
          </c:spPr>
          <c:marker>
            <c:symbol val="none"/>
          </c:marker>
          <c:cat>
            <c:strRef>
              <c:f>画图!$A$2:$A$221</c:f>
              <c:strCache>
                <c:ptCount val="22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</c:strCache>
            </c:strRef>
          </c:cat>
          <c:val>
            <c:numRef>
              <c:f>画图!$B$2:$B$221</c:f>
              <c:numCache>
                <c:formatCode>General</c:formatCode>
                <c:ptCount val="220"/>
                <c:pt idx="0">
                  <c:v>-1.3181818181818183</c:v>
                </c:pt>
                <c:pt idx="1">
                  <c:v>-1.1071428571428572</c:v>
                </c:pt>
                <c:pt idx="2">
                  <c:v>0.25649350649350655</c:v>
                </c:pt>
                <c:pt idx="3">
                  <c:v>-5.194805194805209E-2</c:v>
                </c:pt>
                <c:pt idx="4">
                  <c:v>-3.2467532467532123E-3</c:v>
                </c:pt>
                <c:pt idx="5">
                  <c:v>4.5454545454545477E-2</c:v>
                </c:pt>
                <c:pt idx="6">
                  <c:v>0.64610389610389607</c:v>
                </c:pt>
                <c:pt idx="7">
                  <c:v>0.73538961038961037</c:v>
                </c:pt>
                <c:pt idx="8">
                  <c:v>1.3441558441558439</c:v>
                </c:pt>
                <c:pt idx="9">
                  <c:v>0.99512987012987009</c:v>
                </c:pt>
                <c:pt idx="10">
                  <c:v>0.93831168831168821</c:v>
                </c:pt>
                <c:pt idx="11">
                  <c:v>0.23214285714285712</c:v>
                </c:pt>
                <c:pt idx="12">
                  <c:v>0.20779220779220786</c:v>
                </c:pt>
                <c:pt idx="13">
                  <c:v>0.15909090909090898</c:v>
                </c:pt>
                <c:pt idx="14">
                  <c:v>0.12662337662337672</c:v>
                </c:pt>
                <c:pt idx="15">
                  <c:v>9.4155844155844104E-2</c:v>
                </c:pt>
                <c:pt idx="16">
                  <c:v>8.6038961038961068E-2</c:v>
                </c:pt>
                <c:pt idx="17">
                  <c:v>-0.31168831168831168</c:v>
                </c:pt>
                <c:pt idx="18">
                  <c:v>-0.32792207792207789</c:v>
                </c:pt>
                <c:pt idx="19">
                  <c:v>-0.79220779220779225</c:v>
                </c:pt>
                <c:pt idx="20">
                  <c:v>-1.8311688311688312</c:v>
                </c:pt>
                <c:pt idx="21">
                  <c:v>-0.32954545454545464</c:v>
                </c:pt>
                <c:pt idx="22">
                  <c:v>-0.71103896103896091</c:v>
                </c:pt>
                <c:pt idx="23">
                  <c:v>-0.73538961038961037</c:v>
                </c:pt>
                <c:pt idx="24">
                  <c:v>-0.75974025974025972</c:v>
                </c:pt>
                <c:pt idx="25">
                  <c:v>-0.75162337662337653</c:v>
                </c:pt>
                <c:pt idx="26">
                  <c:v>-0.8571428571428571</c:v>
                </c:pt>
                <c:pt idx="27">
                  <c:v>-1.4659090909090906</c:v>
                </c:pt>
                <c:pt idx="28">
                  <c:v>-1.4253246753246755</c:v>
                </c:pt>
                <c:pt idx="29">
                  <c:v>-1.4821428571428574</c:v>
                </c:pt>
                <c:pt idx="30">
                  <c:v>-1.6850649350649352</c:v>
                </c:pt>
                <c:pt idx="31">
                  <c:v>-1.5064935064935063</c:v>
                </c:pt>
                <c:pt idx="32">
                  <c:v>-1.125</c:v>
                </c:pt>
                <c:pt idx="33">
                  <c:v>-1.6525974025974026</c:v>
                </c:pt>
                <c:pt idx="34">
                  <c:v>-1.4253246753246753</c:v>
                </c:pt>
                <c:pt idx="35">
                  <c:v>-1.4902597402597402</c:v>
                </c:pt>
                <c:pt idx="36">
                  <c:v>-1.4253246753246755</c:v>
                </c:pt>
                <c:pt idx="37">
                  <c:v>-1.3603896103896105</c:v>
                </c:pt>
                <c:pt idx="38">
                  <c:v>-1.2954545454545454</c:v>
                </c:pt>
                <c:pt idx="39">
                  <c:v>-1.6850649350649349</c:v>
                </c:pt>
                <c:pt idx="40">
                  <c:v>-1.4821428571428572</c:v>
                </c:pt>
                <c:pt idx="41">
                  <c:v>-1.4253246753246753</c:v>
                </c:pt>
                <c:pt idx="42">
                  <c:v>-1.3685064935064937</c:v>
                </c:pt>
                <c:pt idx="43">
                  <c:v>-1.4090909090909089</c:v>
                </c:pt>
                <c:pt idx="44">
                  <c:v>-1.8798701298701299</c:v>
                </c:pt>
                <c:pt idx="45">
                  <c:v>-1.8149350649350648</c:v>
                </c:pt>
                <c:pt idx="46">
                  <c:v>-2.0990259740259742</c:v>
                </c:pt>
                <c:pt idx="47">
                  <c:v>-2.0259740259740258</c:v>
                </c:pt>
                <c:pt idx="48">
                  <c:v>-1.7175324675324677</c:v>
                </c:pt>
                <c:pt idx="49">
                  <c:v>-1.7987012987012985</c:v>
                </c:pt>
                <c:pt idx="50">
                  <c:v>-1.75</c:v>
                </c:pt>
                <c:pt idx="51">
                  <c:v>-1.6850649350649349</c:v>
                </c:pt>
                <c:pt idx="52">
                  <c:v>-1.6038961038961037</c:v>
                </c:pt>
                <c:pt idx="53">
                  <c:v>-1.5227272727272729</c:v>
                </c:pt>
                <c:pt idx="54">
                  <c:v>-1.4902597402597402</c:v>
                </c:pt>
                <c:pt idx="55">
                  <c:v>-1.7824675324675325</c:v>
                </c:pt>
                <c:pt idx="56">
                  <c:v>-1.0746753246753247</c:v>
                </c:pt>
                <c:pt idx="57">
                  <c:v>-1.279220779220779</c:v>
                </c:pt>
                <c:pt idx="58">
                  <c:v>-1.2305194805194808</c:v>
                </c:pt>
                <c:pt idx="59">
                  <c:v>-1.1493506493506493</c:v>
                </c:pt>
                <c:pt idx="60">
                  <c:v>0.99025974025974028</c:v>
                </c:pt>
                <c:pt idx="61">
                  <c:v>1.7857142857142858</c:v>
                </c:pt>
                <c:pt idx="62">
                  <c:v>1.5389610389610391</c:v>
                </c:pt>
                <c:pt idx="63">
                  <c:v>2.448051948051948</c:v>
                </c:pt>
                <c:pt idx="64">
                  <c:v>2.3344155844155847</c:v>
                </c:pt>
                <c:pt idx="65">
                  <c:v>2.2207792207792205</c:v>
                </c:pt>
                <c:pt idx="66">
                  <c:v>2.1071428571428568</c:v>
                </c:pt>
                <c:pt idx="67">
                  <c:v>1.3441558441558443</c:v>
                </c:pt>
                <c:pt idx="68">
                  <c:v>0.28896103896103903</c:v>
                </c:pt>
                <c:pt idx="69">
                  <c:v>0.19155844155844171</c:v>
                </c:pt>
                <c:pt idx="70">
                  <c:v>0.12662337662337655</c:v>
                </c:pt>
                <c:pt idx="71">
                  <c:v>9.4155844155844257E-2</c:v>
                </c:pt>
                <c:pt idx="72">
                  <c:v>1.2987012987013038E-2</c:v>
                </c:pt>
                <c:pt idx="73">
                  <c:v>-3.5714285714285809E-2</c:v>
                </c:pt>
                <c:pt idx="74">
                  <c:v>-6.8181818181818218E-2</c:v>
                </c:pt>
                <c:pt idx="75">
                  <c:v>-0.14935064935064929</c:v>
                </c:pt>
                <c:pt idx="76">
                  <c:v>-0.18181818181818185</c:v>
                </c:pt>
                <c:pt idx="77">
                  <c:v>-0.21428571428571438</c:v>
                </c:pt>
                <c:pt idx="78">
                  <c:v>0.13311688311688305</c:v>
                </c:pt>
                <c:pt idx="79">
                  <c:v>6.8181818181818094E-2</c:v>
                </c:pt>
                <c:pt idx="80">
                  <c:v>-0.32142857142857151</c:v>
                </c:pt>
                <c:pt idx="81">
                  <c:v>-1.0844155844155843</c:v>
                </c:pt>
                <c:pt idx="82">
                  <c:v>-1.1493506493506493</c:v>
                </c:pt>
                <c:pt idx="83">
                  <c:v>-1.2142857142857142</c:v>
                </c:pt>
                <c:pt idx="84">
                  <c:v>-1.198051948051948</c:v>
                </c:pt>
                <c:pt idx="85">
                  <c:v>-1.1818181818181819</c:v>
                </c:pt>
                <c:pt idx="86">
                  <c:v>-0.80844155844155841</c:v>
                </c:pt>
                <c:pt idx="87">
                  <c:v>-1.1493506493506493</c:v>
                </c:pt>
                <c:pt idx="88">
                  <c:v>-1.1331168831168832</c:v>
                </c:pt>
                <c:pt idx="89">
                  <c:v>-1.1168831168831168</c:v>
                </c:pt>
                <c:pt idx="90">
                  <c:v>-1.2142857142857142</c:v>
                </c:pt>
                <c:pt idx="91">
                  <c:v>-1.5714285714285714</c:v>
                </c:pt>
                <c:pt idx="92">
                  <c:v>-1.5389610389610391</c:v>
                </c:pt>
                <c:pt idx="93">
                  <c:v>-1.5064935064935068</c:v>
                </c:pt>
                <c:pt idx="94">
                  <c:v>-1.474025974025974</c:v>
                </c:pt>
                <c:pt idx="95">
                  <c:v>-1.4415584415584415</c:v>
                </c:pt>
                <c:pt idx="96">
                  <c:v>-1.5389610389610389</c:v>
                </c:pt>
                <c:pt idx="97">
                  <c:v>-1.474025974025974</c:v>
                </c:pt>
                <c:pt idx="98">
                  <c:v>-1.5064935064935068</c:v>
                </c:pt>
                <c:pt idx="99">
                  <c:v>-1.474025974025974</c:v>
                </c:pt>
                <c:pt idx="100">
                  <c:v>-1.4415584415584415</c:v>
                </c:pt>
                <c:pt idx="101">
                  <c:v>-1.4090909090909089</c:v>
                </c:pt>
                <c:pt idx="102">
                  <c:v>-1.3766233766233766</c:v>
                </c:pt>
                <c:pt idx="103">
                  <c:v>-1.3441558441558443</c:v>
                </c:pt>
                <c:pt idx="104">
                  <c:v>-1.3116883116883116</c:v>
                </c:pt>
                <c:pt idx="105">
                  <c:v>-1.1818181818181817</c:v>
                </c:pt>
                <c:pt idx="106">
                  <c:v>-1.2142857142857142</c:v>
                </c:pt>
                <c:pt idx="107">
                  <c:v>-1.2142857142857142</c:v>
                </c:pt>
                <c:pt idx="108">
                  <c:v>-1.5714285714285714</c:v>
                </c:pt>
                <c:pt idx="109">
                  <c:v>-1.5714285714285714</c:v>
                </c:pt>
                <c:pt idx="110">
                  <c:v>-1.1818181818181817</c:v>
                </c:pt>
                <c:pt idx="111">
                  <c:v>-1.1331168831168832</c:v>
                </c:pt>
                <c:pt idx="112">
                  <c:v>-1.1818181818181819</c:v>
                </c:pt>
                <c:pt idx="113">
                  <c:v>-1.5584415584415585</c:v>
                </c:pt>
                <c:pt idx="114">
                  <c:v>-1.3279220779220779</c:v>
                </c:pt>
                <c:pt idx="115">
                  <c:v>-1.3928571428571428</c:v>
                </c:pt>
                <c:pt idx="116">
                  <c:v>-1.3766233766233766</c:v>
                </c:pt>
                <c:pt idx="117">
                  <c:v>-1.3522727272727273</c:v>
                </c:pt>
                <c:pt idx="118">
                  <c:v>-1.3279220779220782</c:v>
                </c:pt>
                <c:pt idx="119">
                  <c:v>-1.3035714285714286</c:v>
                </c:pt>
                <c:pt idx="120">
                  <c:v>-1.5746753246753247</c:v>
                </c:pt>
                <c:pt idx="121">
                  <c:v>-1.5503246753246753</c:v>
                </c:pt>
                <c:pt idx="122">
                  <c:v>-2.2402597402597406</c:v>
                </c:pt>
                <c:pt idx="123">
                  <c:v>-2.1672077922077917</c:v>
                </c:pt>
                <c:pt idx="124">
                  <c:v>-2.1266233766233769</c:v>
                </c:pt>
                <c:pt idx="125">
                  <c:v>-2.1428571428571428</c:v>
                </c:pt>
                <c:pt idx="126">
                  <c:v>-2.0860389610389611</c:v>
                </c:pt>
                <c:pt idx="127">
                  <c:v>-2.1428571428571428</c:v>
                </c:pt>
                <c:pt idx="128">
                  <c:v>-2.1103896103896105</c:v>
                </c:pt>
                <c:pt idx="129">
                  <c:v>-1.9318181818181819</c:v>
                </c:pt>
                <c:pt idx="130">
                  <c:v>-2.3051948051948052</c:v>
                </c:pt>
                <c:pt idx="131">
                  <c:v>-1.5746753246753247</c:v>
                </c:pt>
                <c:pt idx="132">
                  <c:v>-1.7532467532467533</c:v>
                </c:pt>
                <c:pt idx="133">
                  <c:v>-1.5746753246753245</c:v>
                </c:pt>
                <c:pt idx="134">
                  <c:v>-2.1103896103896105</c:v>
                </c:pt>
                <c:pt idx="135">
                  <c:v>-2.2240259740259742</c:v>
                </c:pt>
                <c:pt idx="136">
                  <c:v>-2.3701298701298703</c:v>
                </c:pt>
                <c:pt idx="137">
                  <c:v>-2.3376623376623376</c:v>
                </c:pt>
                <c:pt idx="138">
                  <c:v>-2.1753246753246751</c:v>
                </c:pt>
                <c:pt idx="139">
                  <c:v>-2.3051948051948052</c:v>
                </c:pt>
                <c:pt idx="140">
                  <c:v>-2.6055194805194803</c:v>
                </c:pt>
                <c:pt idx="141">
                  <c:v>-2.2564935064935066</c:v>
                </c:pt>
                <c:pt idx="142">
                  <c:v>-2.5568181818181821</c:v>
                </c:pt>
                <c:pt idx="143">
                  <c:v>-3.0844155844155843</c:v>
                </c:pt>
                <c:pt idx="144">
                  <c:v>-3.0113636363636362</c:v>
                </c:pt>
                <c:pt idx="145">
                  <c:v>-2.9951298701298699</c:v>
                </c:pt>
                <c:pt idx="146">
                  <c:v>-3.1087662337662336</c:v>
                </c:pt>
                <c:pt idx="147">
                  <c:v>-2.8571428571428572</c:v>
                </c:pt>
                <c:pt idx="148">
                  <c:v>-3.3928571428571428</c:v>
                </c:pt>
                <c:pt idx="149">
                  <c:v>-2.4350649350649354</c:v>
                </c:pt>
                <c:pt idx="150">
                  <c:v>-2.3701298701298699</c:v>
                </c:pt>
                <c:pt idx="151">
                  <c:v>-3.3766233766233769</c:v>
                </c:pt>
                <c:pt idx="152">
                  <c:v>-3.3116883116883118</c:v>
                </c:pt>
                <c:pt idx="153">
                  <c:v>-3.0681818181818179</c:v>
                </c:pt>
                <c:pt idx="154">
                  <c:v>-3.279220779220779</c:v>
                </c:pt>
                <c:pt idx="155">
                  <c:v>-3.5876623376623376</c:v>
                </c:pt>
                <c:pt idx="156">
                  <c:v>-3.5389610389610389</c:v>
                </c:pt>
                <c:pt idx="157">
                  <c:v>-3.4902597402597406</c:v>
                </c:pt>
                <c:pt idx="158">
                  <c:v>-3.0844155844155843</c:v>
                </c:pt>
                <c:pt idx="159">
                  <c:v>-3.0357142857142856</c:v>
                </c:pt>
                <c:pt idx="160">
                  <c:v>-2.9707792207792205</c:v>
                </c:pt>
                <c:pt idx="161">
                  <c:v>-2.9383116883116887</c:v>
                </c:pt>
                <c:pt idx="162">
                  <c:v>-2.5162337662337664</c:v>
                </c:pt>
                <c:pt idx="163">
                  <c:v>-2.5974025974025978</c:v>
                </c:pt>
                <c:pt idx="164">
                  <c:v>-1.8344155844155843</c:v>
                </c:pt>
                <c:pt idx="165">
                  <c:v>-2.2970779220779218</c:v>
                </c:pt>
                <c:pt idx="166">
                  <c:v>-2.2402597402597402</c:v>
                </c:pt>
                <c:pt idx="167">
                  <c:v>-1.9886363636363638</c:v>
                </c:pt>
                <c:pt idx="168">
                  <c:v>-2.1915584415584415</c:v>
                </c:pt>
                <c:pt idx="169">
                  <c:v>-2.1509740259740262</c:v>
                </c:pt>
                <c:pt idx="170">
                  <c:v>-2.1103896103896105</c:v>
                </c:pt>
                <c:pt idx="171">
                  <c:v>-2.0698051948051948</c:v>
                </c:pt>
                <c:pt idx="172">
                  <c:v>-2.0779220779220777</c:v>
                </c:pt>
                <c:pt idx="173">
                  <c:v>-2.0373376623376624</c:v>
                </c:pt>
                <c:pt idx="174">
                  <c:v>-2.7110389610389616</c:v>
                </c:pt>
                <c:pt idx="175">
                  <c:v>-1.8879870129870133</c:v>
                </c:pt>
                <c:pt idx="176">
                  <c:v>-2.5974025974025978</c:v>
                </c:pt>
                <c:pt idx="177">
                  <c:v>-2.1314935064935066</c:v>
                </c:pt>
                <c:pt idx="178">
                  <c:v>-2.4512987012987009</c:v>
                </c:pt>
                <c:pt idx="179">
                  <c:v>-2.5568181818181812</c:v>
                </c:pt>
                <c:pt idx="180">
                  <c:v>-1.5876623376623376</c:v>
                </c:pt>
                <c:pt idx="181">
                  <c:v>-1.9642857142857142</c:v>
                </c:pt>
                <c:pt idx="182">
                  <c:v>-1.8993506493506493</c:v>
                </c:pt>
                <c:pt idx="183">
                  <c:v>-2.5487012987012991</c:v>
                </c:pt>
                <c:pt idx="184">
                  <c:v>-2.3051948051948052</c:v>
                </c:pt>
                <c:pt idx="185">
                  <c:v>-2.2402597402597406</c:v>
                </c:pt>
                <c:pt idx="186">
                  <c:v>-2.3831168831168834</c:v>
                </c:pt>
                <c:pt idx="187">
                  <c:v>-2.5162337662337664</c:v>
                </c:pt>
                <c:pt idx="188">
                  <c:v>-2.5</c:v>
                </c:pt>
                <c:pt idx="189">
                  <c:v>-1.2629870129870129</c:v>
                </c:pt>
                <c:pt idx="190">
                  <c:v>-1.2142857142857142</c:v>
                </c:pt>
                <c:pt idx="191">
                  <c:v>-1.5227272727272729</c:v>
                </c:pt>
                <c:pt idx="192">
                  <c:v>-1.4740259740259738</c:v>
                </c:pt>
                <c:pt idx="193">
                  <c:v>-1.7694805194805194</c:v>
                </c:pt>
                <c:pt idx="194">
                  <c:v>-2.5487012987012991</c:v>
                </c:pt>
                <c:pt idx="195">
                  <c:v>-2.6785714285714284</c:v>
                </c:pt>
                <c:pt idx="196">
                  <c:v>-2.654220779220779</c:v>
                </c:pt>
                <c:pt idx="197">
                  <c:v>-2.2727272727272729</c:v>
                </c:pt>
                <c:pt idx="198">
                  <c:v>-1.7613636363636365</c:v>
                </c:pt>
                <c:pt idx="199">
                  <c:v>-1.1818181818181819</c:v>
                </c:pt>
                <c:pt idx="200">
                  <c:v>-1.3717532467532469</c:v>
                </c:pt>
                <c:pt idx="201">
                  <c:v>-1.125</c:v>
                </c:pt>
                <c:pt idx="202">
                  <c:v>-1.1087662337662336</c:v>
                </c:pt>
                <c:pt idx="203">
                  <c:v>-1.7370129870129869</c:v>
                </c:pt>
                <c:pt idx="204">
                  <c:v>-1.8262987012987015</c:v>
                </c:pt>
                <c:pt idx="205">
                  <c:v>-1.8181818181818181</c:v>
                </c:pt>
                <c:pt idx="206">
                  <c:v>-1.8100649350649352</c:v>
                </c:pt>
                <c:pt idx="207">
                  <c:v>-1.8019480519480522</c:v>
                </c:pt>
                <c:pt idx="208">
                  <c:v>-1.7938311688311688</c:v>
                </c:pt>
                <c:pt idx="209">
                  <c:v>-1.4821428571428572</c:v>
                </c:pt>
                <c:pt idx="210">
                  <c:v>-1.4659090909090911</c:v>
                </c:pt>
                <c:pt idx="211">
                  <c:v>-1.5633116883116884</c:v>
                </c:pt>
                <c:pt idx="212">
                  <c:v>-1.5633116883116884</c:v>
                </c:pt>
                <c:pt idx="213">
                  <c:v>-1.9204545454545452</c:v>
                </c:pt>
                <c:pt idx="214">
                  <c:v>-1.0584415584415585</c:v>
                </c:pt>
                <c:pt idx="215">
                  <c:v>-1.0178571428571428</c:v>
                </c:pt>
                <c:pt idx="216">
                  <c:v>-1.0097402597402596</c:v>
                </c:pt>
                <c:pt idx="217">
                  <c:v>-1.3425324675324677</c:v>
                </c:pt>
                <c:pt idx="218">
                  <c:v>-1.3181818181818183</c:v>
                </c:pt>
                <c:pt idx="219">
                  <c:v>-1.579545454545454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4B2-4341-B9D1-66DA8D05556F}"/>
            </c:ext>
          </c:extLst>
        </c:ser>
        <c:ser>
          <c:idx val="1"/>
          <c:order val="1"/>
          <c:tx>
            <c:strRef>
              <c:f>画图!$C$1</c:f>
              <c:strCache>
                <c:ptCount val="1"/>
              </c:strCache>
            </c:strRef>
          </c:tx>
          <c:spPr>
            <a:ln w="19050">
              <a:solidFill>
                <a:srgbClr val="FF0000"/>
              </a:solidFill>
              <a:prstDash val="sysDash"/>
            </a:ln>
          </c:spPr>
          <c:marker>
            <c:symbol val="none"/>
          </c:marker>
          <c:cat>
            <c:strRef>
              <c:f>画图!$A$2:$A$221</c:f>
              <c:strCache>
                <c:ptCount val="22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</c:strCache>
            </c:strRef>
          </c:cat>
          <c:val>
            <c:numRef>
              <c:f>画图!$C$2:$C$221</c:f>
              <c:numCache>
                <c:formatCode>0.00_);[Red]\(0.00\)</c:formatCode>
                <c:ptCount val="220"/>
                <c:pt idx="0">
                  <c:v>-1.696</c:v>
                </c:pt>
                <c:pt idx="1">
                  <c:v>-1.696</c:v>
                </c:pt>
                <c:pt idx="2">
                  <c:v>-1.696</c:v>
                </c:pt>
                <c:pt idx="3">
                  <c:v>-1.696</c:v>
                </c:pt>
                <c:pt idx="4">
                  <c:v>-1.696</c:v>
                </c:pt>
                <c:pt idx="5">
                  <c:v>-1.696</c:v>
                </c:pt>
                <c:pt idx="6">
                  <c:v>-1.696</c:v>
                </c:pt>
                <c:pt idx="7">
                  <c:v>-1.696</c:v>
                </c:pt>
                <c:pt idx="8">
                  <c:v>-1.696</c:v>
                </c:pt>
                <c:pt idx="9">
                  <c:v>-1.696</c:v>
                </c:pt>
                <c:pt idx="10">
                  <c:v>-1.696</c:v>
                </c:pt>
                <c:pt idx="11">
                  <c:v>-1.696</c:v>
                </c:pt>
                <c:pt idx="12">
                  <c:v>-1.696</c:v>
                </c:pt>
                <c:pt idx="13">
                  <c:v>-1.696</c:v>
                </c:pt>
                <c:pt idx="14">
                  <c:v>-1.696</c:v>
                </c:pt>
                <c:pt idx="15">
                  <c:v>-1.696</c:v>
                </c:pt>
                <c:pt idx="16">
                  <c:v>-1.696</c:v>
                </c:pt>
                <c:pt idx="17">
                  <c:v>-1.696</c:v>
                </c:pt>
                <c:pt idx="18">
                  <c:v>-1.696</c:v>
                </c:pt>
                <c:pt idx="19">
                  <c:v>-1.696</c:v>
                </c:pt>
                <c:pt idx="20">
                  <c:v>-1.696</c:v>
                </c:pt>
                <c:pt idx="21">
                  <c:v>-1.696</c:v>
                </c:pt>
                <c:pt idx="22">
                  <c:v>-1.696</c:v>
                </c:pt>
                <c:pt idx="23">
                  <c:v>-1.696</c:v>
                </c:pt>
                <c:pt idx="24">
                  <c:v>-1.696</c:v>
                </c:pt>
                <c:pt idx="25">
                  <c:v>-1.696</c:v>
                </c:pt>
                <c:pt idx="26">
                  <c:v>-1.696</c:v>
                </c:pt>
                <c:pt idx="27">
                  <c:v>-1.696</c:v>
                </c:pt>
                <c:pt idx="28">
                  <c:v>-1.696</c:v>
                </c:pt>
                <c:pt idx="29">
                  <c:v>-1.696</c:v>
                </c:pt>
                <c:pt idx="30">
                  <c:v>-1.696</c:v>
                </c:pt>
                <c:pt idx="31">
                  <c:v>-1.696</c:v>
                </c:pt>
                <c:pt idx="32">
                  <c:v>-1.696</c:v>
                </c:pt>
                <c:pt idx="33">
                  <c:v>-1.696</c:v>
                </c:pt>
                <c:pt idx="34">
                  <c:v>-1.696</c:v>
                </c:pt>
                <c:pt idx="35">
                  <c:v>-1.696</c:v>
                </c:pt>
                <c:pt idx="36">
                  <c:v>-1.696</c:v>
                </c:pt>
                <c:pt idx="37">
                  <c:v>-1.696</c:v>
                </c:pt>
                <c:pt idx="38">
                  <c:v>-1.696</c:v>
                </c:pt>
                <c:pt idx="39">
                  <c:v>-1.696</c:v>
                </c:pt>
                <c:pt idx="40">
                  <c:v>-1.696</c:v>
                </c:pt>
                <c:pt idx="41">
                  <c:v>-1.696</c:v>
                </c:pt>
                <c:pt idx="42">
                  <c:v>-1.696</c:v>
                </c:pt>
                <c:pt idx="43">
                  <c:v>-1.696</c:v>
                </c:pt>
                <c:pt idx="44">
                  <c:v>-1.696</c:v>
                </c:pt>
                <c:pt idx="45">
                  <c:v>-1.696</c:v>
                </c:pt>
                <c:pt idx="46">
                  <c:v>-1.696</c:v>
                </c:pt>
                <c:pt idx="47">
                  <c:v>-1.696</c:v>
                </c:pt>
                <c:pt idx="48">
                  <c:v>-1.696</c:v>
                </c:pt>
                <c:pt idx="49">
                  <c:v>-1.696</c:v>
                </c:pt>
                <c:pt idx="50">
                  <c:v>-1.696</c:v>
                </c:pt>
                <c:pt idx="51">
                  <c:v>-1.696</c:v>
                </c:pt>
                <c:pt idx="52">
                  <c:v>-1.696</c:v>
                </c:pt>
                <c:pt idx="53">
                  <c:v>-1.696</c:v>
                </c:pt>
                <c:pt idx="54">
                  <c:v>-1.696</c:v>
                </c:pt>
                <c:pt idx="55">
                  <c:v>-1.696</c:v>
                </c:pt>
                <c:pt idx="56">
                  <c:v>-1.696</c:v>
                </c:pt>
                <c:pt idx="57">
                  <c:v>-1.696</c:v>
                </c:pt>
                <c:pt idx="58">
                  <c:v>-1.696</c:v>
                </c:pt>
                <c:pt idx="59">
                  <c:v>-1.696</c:v>
                </c:pt>
                <c:pt idx="60">
                  <c:v>-1.696</c:v>
                </c:pt>
                <c:pt idx="61">
                  <c:v>-1.696</c:v>
                </c:pt>
                <c:pt idx="62">
                  <c:v>-1.696</c:v>
                </c:pt>
                <c:pt idx="63">
                  <c:v>-1.696</c:v>
                </c:pt>
                <c:pt idx="64">
                  <c:v>-1.696</c:v>
                </c:pt>
                <c:pt idx="65">
                  <c:v>-1.696</c:v>
                </c:pt>
                <c:pt idx="66">
                  <c:v>-1.696</c:v>
                </c:pt>
                <c:pt idx="67">
                  <c:v>-1.696</c:v>
                </c:pt>
                <c:pt idx="68">
                  <c:v>-1.696</c:v>
                </c:pt>
                <c:pt idx="69">
                  <c:v>-1.696</c:v>
                </c:pt>
                <c:pt idx="70">
                  <c:v>-1.696</c:v>
                </c:pt>
                <c:pt idx="71">
                  <c:v>-1.696</c:v>
                </c:pt>
                <c:pt idx="72">
                  <c:v>-1.696</c:v>
                </c:pt>
                <c:pt idx="73">
                  <c:v>-1.696</c:v>
                </c:pt>
                <c:pt idx="74">
                  <c:v>-1.696</c:v>
                </c:pt>
                <c:pt idx="75">
                  <c:v>-1.696</c:v>
                </c:pt>
                <c:pt idx="76">
                  <c:v>-1.696</c:v>
                </c:pt>
                <c:pt idx="77">
                  <c:v>-1.696</c:v>
                </c:pt>
                <c:pt idx="78">
                  <c:v>-1.696</c:v>
                </c:pt>
                <c:pt idx="79">
                  <c:v>-1.696</c:v>
                </c:pt>
                <c:pt idx="80">
                  <c:v>-1.696</c:v>
                </c:pt>
                <c:pt idx="81">
                  <c:v>-1.696</c:v>
                </c:pt>
                <c:pt idx="82">
                  <c:v>-1.696</c:v>
                </c:pt>
                <c:pt idx="83">
                  <c:v>-1.696</c:v>
                </c:pt>
                <c:pt idx="84">
                  <c:v>-1.696</c:v>
                </c:pt>
                <c:pt idx="85">
                  <c:v>-1.696</c:v>
                </c:pt>
                <c:pt idx="86">
                  <c:v>-1.696</c:v>
                </c:pt>
                <c:pt idx="87">
                  <c:v>-1.696</c:v>
                </c:pt>
                <c:pt idx="88">
                  <c:v>-1.696</c:v>
                </c:pt>
                <c:pt idx="89">
                  <c:v>-1.696</c:v>
                </c:pt>
                <c:pt idx="90">
                  <c:v>-1.696</c:v>
                </c:pt>
                <c:pt idx="91">
                  <c:v>-1.696</c:v>
                </c:pt>
                <c:pt idx="92">
                  <c:v>-1.696</c:v>
                </c:pt>
                <c:pt idx="93">
                  <c:v>-1.696</c:v>
                </c:pt>
                <c:pt idx="94">
                  <c:v>-1.696</c:v>
                </c:pt>
                <c:pt idx="95">
                  <c:v>-1.696</c:v>
                </c:pt>
                <c:pt idx="96">
                  <c:v>-1.696</c:v>
                </c:pt>
                <c:pt idx="97">
                  <c:v>-1.696</c:v>
                </c:pt>
                <c:pt idx="98">
                  <c:v>-1.696</c:v>
                </c:pt>
                <c:pt idx="99">
                  <c:v>-1.696</c:v>
                </c:pt>
                <c:pt idx="100">
                  <c:v>-1.696</c:v>
                </c:pt>
                <c:pt idx="101">
                  <c:v>-1.696</c:v>
                </c:pt>
                <c:pt idx="102">
                  <c:v>-1.696</c:v>
                </c:pt>
                <c:pt idx="103">
                  <c:v>-1.696</c:v>
                </c:pt>
                <c:pt idx="104">
                  <c:v>-1.696</c:v>
                </c:pt>
                <c:pt idx="105">
                  <c:v>-1.696</c:v>
                </c:pt>
                <c:pt idx="106">
                  <c:v>-1.696</c:v>
                </c:pt>
                <c:pt idx="107">
                  <c:v>-1.696</c:v>
                </c:pt>
                <c:pt idx="108">
                  <c:v>-1.696</c:v>
                </c:pt>
                <c:pt idx="109">
                  <c:v>-1.696</c:v>
                </c:pt>
                <c:pt idx="110">
                  <c:v>-1.696</c:v>
                </c:pt>
                <c:pt idx="111">
                  <c:v>-1.696</c:v>
                </c:pt>
                <c:pt idx="112">
                  <c:v>-1.696</c:v>
                </c:pt>
                <c:pt idx="113">
                  <c:v>-1.696</c:v>
                </c:pt>
                <c:pt idx="114">
                  <c:v>-1.696</c:v>
                </c:pt>
                <c:pt idx="115">
                  <c:v>-1.696</c:v>
                </c:pt>
                <c:pt idx="116">
                  <c:v>-1.696</c:v>
                </c:pt>
                <c:pt idx="117">
                  <c:v>-1.696</c:v>
                </c:pt>
                <c:pt idx="118">
                  <c:v>-1.696</c:v>
                </c:pt>
                <c:pt idx="119">
                  <c:v>-1.696</c:v>
                </c:pt>
                <c:pt idx="120">
                  <c:v>-1.696</c:v>
                </c:pt>
                <c:pt idx="121">
                  <c:v>-1.696</c:v>
                </c:pt>
                <c:pt idx="122">
                  <c:v>-1.696</c:v>
                </c:pt>
                <c:pt idx="123">
                  <c:v>-1.696</c:v>
                </c:pt>
                <c:pt idx="124">
                  <c:v>-1.696</c:v>
                </c:pt>
                <c:pt idx="125">
                  <c:v>-1.696</c:v>
                </c:pt>
                <c:pt idx="126">
                  <c:v>-1.696</c:v>
                </c:pt>
                <c:pt idx="127">
                  <c:v>-1.696</c:v>
                </c:pt>
                <c:pt idx="128">
                  <c:v>-1.696</c:v>
                </c:pt>
                <c:pt idx="129">
                  <c:v>-1.696</c:v>
                </c:pt>
                <c:pt idx="130">
                  <c:v>-1.696</c:v>
                </c:pt>
                <c:pt idx="131">
                  <c:v>-1.696</c:v>
                </c:pt>
                <c:pt idx="132">
                  <c:v>-1.696</c:v>
                </c:pt>
                <c:pt idx="133">
                  <c:v>-1.696</c:v>
                </c:pt>
                <c:pt idx="134">
                  <c:v>-1.696</c:v>
                </c:pt>
                <c:pt idx="135">
                  <c:v>-1.696</c:v>
                </c:pt>
                <c:pt idx="136">
                  <c:v>-1.696</c:v>
                </c:pt>
                <c:pt idx="137">
                  <c:v>-1.696</c:v>
                </c:pt>
                <c:pt idx="138">
                  <c:v>-1.696</c:v>
                </c:pt>
                <c:pt idx="139">
                  <c:v>-1.696</c:v>
                </c:pt>
                <c:pt idx="140">
                  <c:v>-1.696</c:v>
                </c:pt>
                <c:pt idx="141">
                  <c:v>-1.696</c:v>
                </c:pt>
                <c:pt idx="142">
                  <c:v>-1.696</c:v>
                </c:pt>
                <c:pt idx="143">
                  <c:v>-1.696</c:v>
                </c:pt>
                <c:pt idx="144">
                  <c:v>-1.696</c:v>
                </c:pt>
                <c:pt idx="145">
                  <c:v>-1.696</c:v>
                </c:pt>
                <c:pt idx="146">
                  <c:v>-1.696</c:v>
                </c:pt>
                <c:pt idx="147">
                  <c:v>-1.696</c:v>
                </c:pt>
                <c:pt idx="148">
                  <c:v>-1.696</c:v>
                </c:pt>
                <c:pt idx="149">
                  <c:v>-1.696</c:v>
                </c:pt>
                <c:pt idx="150">
                  <c:v>-1.696</c:v>
                </c:pt>
                <c:pt idx="151">
                  <c:v>-1.696</c:v>
                </c:pt>
                <c:pt idx="152">
                  <c:v>-1.696</c:v>
                </c:pt>
                <c:pt idx="153">
                  <c:v>-1.696</c:v>
                </c:pt>
                <c:pt idx="154">
                  <c:v>-1.696</c:v>
                </c:pt>
                <c:pt idx="155">
                  <c:v>-1.696</c:v>
                </c:pt>
                <c:pt idx="156">
                  <c:v>-1.696</c:v>
                </c:pt>
                <c:pt idx="157">
                  <c:v>-1.696</c:v>
                </c:pt>
                <c:pt idx="158">
                  <c:v>-1.696</c:v>
                </c:pt>
                <c:pt idx="159">
                  <c:v>-1.696</c:v>
                </c:pt>
                <c:pt idx="160">
                  <c:v>-1.696</c:v>
                </c:pt>
                <c:pt idx="161">
                  <c:v>-1.696</c:v>
                </c:pt>
                <c:pt idx="162">
                  <c:v>-1.696</c:v>
                </c:pt>
                <c:pt idx="163">
                  <c:v>-1.696</c:v>
                </c:pt>
                <c:pt idx="164">
                  <c:v>-1.696</c:v>
                </c:pt>
                <c:pt idx="165">
                  <c:v>-1.696</c:v>
                </c:pt>
                <c:pt idx="166">
                  <c:v>-1.696</c:v>
                </c:pt>
                <c:pt idx="167">
                  <c:v>-1.696</c:v>
                </c:pt>
                <c:pt idx="168">
                  <c:v>-1.696</c:v>
                </c:pt>
                <c:pt idx="169">
                  <c:v>-1.696</c:v>
                </c:pt>
                <c:pt idx="170">
                  <c:v>-1.696</c:v>
                </c:pt>
                <c:pt idx="171">
                  <c:v>-1.696</c:v>
                </c:pt>
                <c:pt idx="172">
                  <c:v>-1.696</c:v>
                </c:pt>
                <c:pt idx="173">
                  <c:v>-1.696</c:v>
                </c:pt>
                <c:pt idx="174">
                  <c:v>-1.696</c:v>
                </c:pt>
                <c:pt idx="175">
                  <c:v>-1.696</c:v>
                </c:pt>
                <c:pt idx="176">
                  <c:v>-1.696</c:v>
                </c:pt>
                <c:pt idx="177">
                  <c:v>-1.696</c:v>
                </c:pt>
                <c:pt idx="178">
                  <c:v>-1.696</c:v>
                </c:pt>
                <c:pt idx="179">
                  <c:v>-1.696</c:v>
                </c:pt>
                <c:pt idx="180">
                  <c:v>-1.696</c:v>
                </c:pt>
                <c:pt idx="181">
                  <c:v>-1.696</c:v>
                </c:pt>
                <c:pt idx="182">
                  <c:v>-1.696</c:v>
                </c:pt>
                <c:pt idx="183">
                  <c:v>-1.696</c:v>
                </c:pt>
                <c:pt idx="184">
                  <c:v>-1.696</c:v>
                </c:pt>
                <c:pt idx="185">
                  <c:v>-1.696</c:v>
                </c:pt>
                <c:pt idx="186">
                  <c:v>-1.696</c:v>
                </c:pt>
                <c:pt idx="187">
                  <c:v>-1.696</c:v>
                </c:pt>
                <c:pt idx="188">
                  <c:v>-1.696</c:v>
                </c:pt>
                <c:pt idx="189">
                  <c:v>-1.696</c:v>
                </c:pt>
                <c:pt idx="190">
                  <c:v>-1.696</c:v>
                </c:pt>
                <c:pt idx="191">
                  <c:v>-1.696</c:v>
                </c:pt>
                <c:pt idx="192">
                  <c:v>-1.696</c:v>
                </c:pt>
                <c:pt idx="193">
                  <c:v>-1.696</c:v>
                </c:pt>
                <c:pt idx="194">
                  <c:v>-1.696</c:v>
                </c:pt>
                <c:pt idx="195">
                  <c:v>-1.696</c:v>
                </c:pt>
                <c:pt idx="196">
                  <c:v>-1.696</c:v>
                </c:pt>
                <c:pt idx="197">
                  <c:v>-1.696</c:v>
                </c:pt>
                <c:pt idx="198">
                  <c:v>-1.696</c:v>
                </c:pt>
                <c:pt idx="199">
                  <c:v>-1.696</c:v>
                </c:pt>
                <c:pt idx="200">
                  <c:v>-1.696</c:v>
                </c:pt>
                <c:pt idx="201">
                  <c:v>-1.696</c:v>
                </c:pt>
                <c:pt idx="202">
                  <c:v>-1.696</c:v>
                </c:pt>
                <c:pt idx="203">
                  <c:v>-1.696</c:v>
                </c:pt>
                <c:pt idx="204">
                  <c:v>-1.696</c:v>
                </c:pt>
                <c:pt idx="205">
                  <c:v>-1.696</c:v>
                </c:pt>
                <c:pt idx="206">
                  <c:v>-1.696</c:v>
                </c:pt>
                <c:pt idx="207">
                  <c:v>-1.696</c:v>
                </c:pt>
                <c:pt idx="208">
                  <c:v>-1.696</c:v>
                </c:pt>
                <c:pt idx="209">
                  <c:v>-1.696</c:v>
                </c:pt>
                <c:pt idx="210">
                  <c:v>-1.696</c:v>
                </c:pt>
                <c:pt idx="211">
                  <c:v>-1.696</c:v>
                </c:pt>
                <c:pt idx="212">
                  <c:v>-1.696</c:v>
                </c:pt>
                <c:pt idx="213">
                  <c:v>-1.696</c:v>
                </c:pt>
                <c:pt idx="214">
                  <c:v>-1.696</c:v>
                </c:pt>
                <c:pt idx="215">
                  <c:v>-1.696</c:v>
                </c:pt>
                <c:pt idx="216">
                  <c:v>-1.696</c:v>
                </c:pt>
                <c:pt idx="217">
                  <c:v>-1.696</c:v>
                </c:pt>
                <c:pt idx="218">
                  <c:v>-1.696</c:v>
                </c:pt>
                <c:pt idx="219">
                  <c:v>-1.6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4B2-4341-B9D1-66DA8D05556F}"/>
            </c:ext>
          </c:extLst>
        </c:ser>
        <c:ser>
          <c:idx val="2"/>
          <c:order val="2"/>
          <c:tx>
            <c:strRef>
              <c:f>画图!$D$1</c:f>
              <c:strCache>
                <c:ptCount val="1"/>
              </c:strCache>
            </c:strRef>
          </c:tx>
          <c:spPr>
            <a:ln w="19050">
              <a:solidFill>
                <a:srgbClr val="0D97FF"/>
              </a:solidFill>
              <a:prstDash val="sysDash"/>
            </a:ln>
          </c:spPr>
          <c:marker>
            <c:symbol val="none"/>
          </c:marker>
          <c:cat>
            <c:strRef>
              <c:f>画图!$A$2:$A$221</c:f>
              <c:strCache>
                <c:ptCount val="22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</c:strCache>
            </c:strRef>
          </c:cat>
          <c:val>
            <c:numRef>
              <c:f>画图!$D$2:$D$221</c:f>
              <c:numCache>
                <c:formatCode>0.00_);[Red]\(0.00\)</c:formatCode>
                <c:ptCount val="220"/>
                <c:pt idx="0">
                  <c:v>-0.84799999999999998</c:v>
                </c:pt>
                <c:pt idx="1">
                  <c:v>-0.84799999999999998</c:v>
                </c:pt>
                <c:pt idx="2">
                  <c:v>-0.84799999999999998</c:v>
                </c:pt>
                <c:pt idx="3">
                  <c:v>-0.84799999999999998</c:v>
                </c:pt>
                <c:pt idx="4">
                  <c:v>-0.84799999999999998</c:v>
                </c:pt>
                <c:pt idx="5">
                  <c:v>-0.84799999999999998</c:v>
                </c:pt>
                <c:pt idx="6">
                  <c:v>-0.84799999999999998</c:v>
                </c:pt>
                <c:pt idx="7">
                  <c:v>-0.84799999999999998</c:v>
                </c:pt>
                <c:pt idx="8">
                  <c:v>-0.84799999999999998</c:v>
                </c:pt>
                <c:pt idx="9">
                  <c:v>-0.84799999999999998</c:v>
                </c:pt>
                <c:pt idx="10">
                  <c:v>-0.84799999999999998</c:v>
                </c:pt>
                <c:pt idx="11">
                  <c:v>-0.84799999999999998</c:v>
                </c:pt>
                <c:pt idx="12">
                  <c:v>-0.84799999999999998</c:v>
                </c:pt>
                <c:pt idx="13">
                  <c:v>-0.84799999999999998</c:v>
                </c:pt>
                <c:pt idx="14">
                  <c:v>-0.84799999999999998</c:v>
                </c:pt>
                <c:pt idx="15">
                  <c:v>-0.84799999999999998</c:v>
                </c:pt>
                <c:pt idx="16">
                  <c:v>-0.84799999999999998</c:v>
                </c:pt>
                <c:pt idx="17">
                  <c:v>-0.84799999999999998</c:v>
                </c:pt>
                <c:pt idx="18">
                  <c:v>-0.84799999999999998</c:v>
                </c:pt>
                <c:pt idx="19">
                  <c:v>-0.84799999999999998</c:v>
                </c:pt>
                <c:pt idx="20">
                  <c:v>-0.84799999999999998</c:v>
                </c:pt>
                <c:pt idx="21">
                  <c:v>-0.84799999999999998</c:v>
                </c:pt>
                <c:pt idx="22">
                  <c:v>-0.84799999999999998</c:v>
                </c:pt>
                <c:pt idx="23">
                  <c:v>-0.84799999999999998</c:v>
                </c:pt>
                <c:pt idx="24">
                  <c:v>-0.84799999999999998</c:v>
                </c:pt>
                <c:pt idx="25">
                  <c:v>-0.84799999999999998</c:v>
                </c:pt>
                <c:pt idx="26">
                  <c:v>-0.84799999999999998</c:v>
                </c:pt>
                <c:pt idx="27">
                  <c:v>-0.84799999999999998</c:v>
                </c:pt>
                <c:pt idx="28">
                  <c:v>-0.84799999999999998</c:v>
                </c:pt>
                <c:pt idx="29">
                  <c:v>-0.84799999999999998</c:v>
                </c:pt>
                <c:pt idx="30">
                  <c:v>-0.84799999999999998</c:v>
                </c:pt>
                <c:pt idx="31">
                  <c:v>-0.84799999999999998</c:v>
                </c:pt>
                <c:pt idx="32">
                  <c:v>-0.84799999999999998</c:v>
                </c:pt>
                <c:pt idx="33">
                  <c:v>-0.84799999999999998</c:v>
                </c:pt>
                <c:pt idx="34">
                  <c:v>-0.84799999999999998</c:v>
                </c:pt>
                <c:pt idx="35">
                  <c:v>-0.84799999999999998</c:v>
                </c:pt>
                <c:pt idx="36">
                  <c:v>-0.84799999999999998</c:v>
                </c:pt>
                <c:pt idx="37">
                  <c:v>-0.84799999999999998</c:v>
                </c:pt>
                <c:pt idx="38">
                  <c:v>-0.84799999999999998</c:v>
                </c:pt>
                <c:pt idx="39">
                  <c:v>-0.84799999999999998</c:v>
                </c:pt>
                <c:pt idx="40">
                  <c:v>-0.84799999999999998</c:v>
                </c:pt>
                <c:pt idx="41">
                  <c:v>-0.84799999999999998</c:v>
                </c:pt>
                <c:pt idx="42">
                  <c:v>-0.84799999999999998</c:v>
                </c:pt>
                <c:pt idx="43">
                  <c:v>-0.84799999999999998</c:v>
                </c:pt>
                <c:pt idx="44">
                  <c:v>-0.84799999999999998</c:v>
                </c:pt>
                <c:pt idx="45">
                  <c:v>-0.84799999999999998</c:v>
                </c:pt>
                <c:pt idx="46">
                  <c:v>-0.84799999999999998</c:v>
                </c:pt>
                <c:pt idx="47">
                  <c:v>-0.84799999999999998</c:v>
                </c:pt>
                <c:pt idx="48">
                  <c:v>-0.84799999999999998</c:v>
                </c:pt>
                <c:pt idx="49">
                  <c:v>-0.84799999999999998</c:v>
                </c:pt>
                <c:pt idx="50">
                  <c:v>-0.84799999999999998</c:v>
                </c:pt>
                <c:pt idx="51">
                  <c:v>-0.84799999999999998</c:v>
                </c:pt>
                <c:pt idx="52">
                  <c:v>-0.84799999999999998</c:v>
                </c:pt>
                <c:pt idx="53">
                  <c:v>-0.84799999999999998</c:v>
                </c:pt>
                <c:pt idx="54">
                  <c:v>-0.84799999999999998</c:v>
                </c:pt>
                <c:pt idx="55">
                  <c:v>-0.84799999999999998</c:v>
                </c:pt>
                <c:pt idx="56">
                  <c:v>-0.84799999999999998</c:v>
                </c:pt>
                <c:pt idx="57">
                  <c:v>-0.84799999999999998</c:v>
                </c:pt>
                <c:pt idx="58">
                  <c:v>-0.84799999999999998</c:v>
                </c:pt>
                <c:pt idx="59">
                  <c:v>-0.84799999999999998</c:v>
                </c:pt>
                <c:pt idx="60">
                  <c:v>-0.84799999999999998</c:v>
                </c:pt>
                <c:pt idx="61">
                  <c:v>-0.84799999999999998</c:v>
                </c:pt>
                <c:pt idx="62">
                  <c:v>-0.84799999999999998</c:v>
                </c:pt>
                <c:pt idx="63">
                  <c:v>-0.84799999999999998</c:v>
                </c:pt>
                <c:pt idx="64">
                  <c:v>-0.84799999999999998</c:v>
                </c:pt>
                <c:pt idx="65">
                  <c:v>-0.84799999999999998</c:v>
                </c:pt>
                <c:pt idx="66">
                  <c:v>-0.84799999999999998</c:v>
                </c:pt>
                <c:pt idx="67">
                  <c:v>-0.84799999999999998</c:v>
                </c:pt>
                <c:pt idx="68">
                  <c:v>-0.84799999999999998</c:v>
                </c:pt>
                <c:pt idx="69">
                  <c:v>-0.84799999999999998</c:v>
                </c:pt>
                <c:pt idx="70">
                  <c:v>-0.84799999999999998</c:v>
                </c:pt>
                <c:pt idx="71">
                  <c:v>-0.84799999999999998</c:v>
                </c:pt>
                <c:pt idx="72">
                  <c:v>-0.84799999999999998</c:v>
                </c:pt>
                <c:pt idx="73">
                  <c:v>-0.84799999999999998</c:v>
                </c:pt>
                <c:pt idx="74">
                  <c:v>-0.84799999999999998</c:v>
                </c:pt>
                <c:pt idx="75">
                  <c:v>-0.84799999999999998</c:v>
                </c:pt>
                <c:pt idx="76">
                  <c:v>-0.84799999999999998</c:v>
                </c:pt>
                <c:pt idx="77">
                  <c:v>-0.84799999999999998</c:v>
                </c:pt>
                <c:pt idx="78">
                  <c:v>-0.84799999999999998</c:v>
                </c:pt>
                <c:pt idx="79">
                  <c:v>-0.84799999999999998</c:v>
                </c:pt>
                <c:pt idx="80">
                  <c:v>-0.84799999999999998</c:v>
                </c:pt>
                <c:pt idx="81">
                  <c:v>-0.84799999999999998</c:v>
                </c:pt>
                <c:pt idx="82">
                  <c:v>-0.84799999999999998</c:v>
                </c:pt>
                <c:pt idx="83">
                  <c:v>-0.84799999999999998</c:v>
                </c:pt>
                <c:pt idx="84">
                  <c:v>-0.84799999999999998</c:v>
                </c:pt>
                <c:pt idx="85">
                  <c:v>-0.84799999999999998</c:v>
                </c:pt>
                <c:pt idx="86">
                  <c:v>-0.84799999999999998</c:v>
                </c:pt>
                <c:pt idx="87">
                  <c:v>-0.84799999999999998</c:v>
                </c:pt>
                <c:pt idx="88">
                  <c:v>-0.84799999999999998</c:v>
                </c:pt>
                <c:pt idx="89">
                  <c:v>-0.84799999999999998</c:v>
                </c:pt>
                <c:pt idx="90">
                  <c:v>-0.84799999999999998</c:v>
                </c:pt>
                <c:pt idx="91">
                  <c:v>-0.84799999999999998</c:v>
                </c:pt>
                <c:pt idx="92">
                  <c:v>-0.84799999999999998</c:v>
                </c:pt>
                <c:pt idx="93">
                  <c:v>-0.84799999999999998</c:v>
                </c:pt>
                <c:pt idx="94">
                  <c:v>-0.84799999999999998</c:v>
                </c:pt>
                <c:pt idx="95">
                  <c:v>-0.84799999999999998</c:v>
                </c:pt>
                <c:pt idx="96">
                  <c:v>-0.84799999999999998</c:v>
                </c:pt>
                <c:pt idx="97">
                  <c:v>-0.84799999999999998</c:v>
                </c:pt>
                <c:pt idx="98">
                  <c:v>-0.84799999999999998</c:v>
                </c:pt>
                <c:pt idx="99">
                  <c:v>-0.84799999999999998</c:v>
                </c:pt>
                <c:pt idx="100">
                  <c:v>-0.84799999999999998</c:v>
                </c:pt>
                <c:pt idx="101">
                  <c:v>-0.84799999999999998</c:v>
                </c:pt>
                <c:pt idx="102">
                  <c:v>-0.84799999999999998</c:v>
                </c:pt>
                <c:pt idx="103">
                  <c:v>-0.84799999999999998</c:v>
                </c:pt>
                <c:pt idx="104">
                  <c:v>-0.84799999999999998</c:v>
                </c:pt>
                <c:pt idx="105">
                  <c:v>-0.84799999999999998</c:v>
                </c:pt>
                <c:pt idx="106">
                  <c:v>-0.84799999999999998</c:v>
                </c:pt>
                <c:pt idx="107">
                  <c:v>-0.84799999999999998</c:v>
                </c:pt>
                <c:pt idx="108">
                  <c:v>-0.84799999999999998</c:v>
                </c:pt>
                <c:pt idx="109">
                  <c:v>-0.84799999999999998</c:v>
                </c:pt>
                <c:pt idx="110">
                  <c:v>-0.84799999999999998</c:v>
                </c:pt>
                <c:pt idx="111">
                  <c:v>-0.84799999999999998</c:v>
                </c:pt>
                <c:pt idx="112">
                  <c:v>-0.84799999999999998</c:v>
                </c:pt>
                <c:pt idx="113">
                  <c:v>-0.84799999999999998</c:v>
                </c:pt>
                <c:pt idx="114">
                  <c:v>-0.84799999999999998</c:v>
                </c:pt>
                <c:pt idx="115">
                  <c:v>-0.84799999999999998</c:v>
                </c:pt>
                <c:pt idx="116">
                  <c:v>-0.84799999999999998</c:v>
                </c:pt>
                <c:pt idx="117">
                  <c:v>-0.84799999999999998</c:v>
                </c:pt>
                <c:pt idx="118">
                  <c:v>-0.84799999999999998</c:v>
                </c:pt>
                <c:pt idx="119">
                  <c:v>-0.84799999999999998</c:v>
                </c:pt>
                <c:pt idx="120">
                  <c:v>-0.84799999999999998</c:v>
                </c:pt>
                <c:pt idx="121">
                  <c:v>-0.84799999999999998</c:v>
                </c:pt>
                <c:pt idx="122">
                  <c:v>-0.84799999999999998</c:v>
                </c:pt>
                <c:pt idx="123">
                  <c:v>-0.84799999999999998</c:v>
                </c:pt>
                <c:pt idx="124">
                  <c:v>-0.84799999999999998</c:v>
                </c:pt>
                <c:pt idx="125">
                  <c:v>-0.84799999999999998</c:v>
                </c:pt>
                <c:pt idx="126">
                  <c:v>-0.84799999999999998</c:v>
                </c:pt>
                <c:pt idx="127">
                  <c:v>-0.84799999999999998</c:v>
                </c:pt>
                <c:pt idx="128">
                  <c:v>-0.84799999999999998</c:v>
                </c:pt>
                <c:pt idx="129">
                  <c:v>-0.84799999999999998</c:v>
                </c:pt>
                <c:pt idx="130">
                  <c:v>-0.84799999999999998</c:v>
                </c:pt>
                <c:pt idx="131">
                  <c:v>-0.84799999999999998</c:v>
                </c:pt>
                <c:pt idx="132">
                  <c:v>-0.84799999999999998</c:v>
                </c:pt>
                <c:pt idx="133">
                  <c:v>-0.84799999999999998</c:v>
                </c:pt>
                <c:pt idx="134">
                  <c:v>-0.84799999999999998</c:v>
                </c:pt>
                <c:pt idx="135">
                  <c:v>-0.84799999999999998</c:v>
                </c:pt>
                <c:pt idx="136">
                  <c:v>-0.84799999999999998</c:v>
                </c:pt>
                <c:pt idx="137">
                  <c:v>-0.84799999999999998</c:v>
                </c:pt>
                <c:pt idx="138">
                  <c:v>-0.84799999999999998</c:v>
                </c:pt>
                <c:pt idx="139">
                  <c:v>-0.84799999999999998</c:v>
                </c:pt>
                <c:pt idx="140">
                  <c:v>-0.84799999999999998</c:v>
                </c:pt>
                <c:pt idx="141">
                  <c:v>-0.84799999999999998</c:v>
                </c:pt>
                <c:pt idx="142">
                  <c:v>-0.84799999999999998</c:v>
                </c:pt>
                <c:pt idx="143">
                  <c:v>-0.84799999999999998</c:v>
                </c:pt>
                <c:pt idx="144">
                  <c:v>-0.84799999999999998</c:v>
                </c:pt>
                <c:pt idx="145">
                  <c:v>-0.84799999999999998</c:v>
                </c:pt>
                <c:pt idx="146">
                  <c:v>-0.84799999999999998</c:v>
                </c:pt>
                <c:pt idx="147">
                  <c:v>-0.84799999999999998</c:v>
                </c:pt>
                <c:pt idx="148">
                  <c:v>-0.84799999999999998</c:v>
                </c:pt>
                <c:pt idx="149">
                  <c:v>-0.84799999999999998</c:v>
                </c:pt>
                <c:pt idx="150">
                  <c:v>-0.84799999999999998</c:v>
                </c:pt>
                <c:pt idx="151">
                  <c:v>-0.84799999999999998</c:v>
                </c:pt>
                <c:pt idx="152">
                  <c:v>-0.84799999999999998</c:v>
                </c:pt>
                <c:pt idx="153">
                  <c:v>-0.84799999999999998</c:v>
                </c:pt>
                <c:pt idx="154">
                  <c:v>-0.84799999999999998</c:v>
                </c:pt>
                <c:pt idx="155">
                  <c:v>-0.84799999999999998</c:v>
                </c:pt>
                <c:pt idx="156">
                  <c:v>-0.84799999999999998</c:v>
                </c:pt>
                <c:pt idx="157">
                  <c:v>-0.84799999999999998</c:v>
                </c:pt>
                <c:pt idx="158">
                  <c:v>-0.84799999999999998</c:v>
                </c:pt>
                <c:pt idx="159">
                  <c:v>-0.84799999999999998</c:v>
                </c:pt>
                <c:pt idx="160">
                  <c:v>-0.84799999999999998</c:v>
                </c:pt>
                <c:pt idx="161">
                  <c:v>-0.84799999999999998</c:v>
                </c:pt>
                <c:pt idx="162">
                  <c:v>-0.84799999999999998</c:v>
                </c:pt>
                <c:pt idx="163">
                  <c:v>-0.84799999999999998</c:v>
                </c:pt>
                <c:pt idx="164">
                  <c:v>-0.84799999999999998</c:v>
                </c:pt>
                <c:pt idx="165">
                  <c:v>-0.84799999999999998</c:v>
                </c:pt>
                <c:pt idx="166">
                  <c:v>-0.84799999999999998</c:v>
                </c:pt>
                <c:pt idx="167">
                  <c:v>-0.84799999999999998</c:v>
                </c:pt>
                <c:pt idx="168">
                  <c:v>-0.84799999999999998</c:v>
                </c:pt>
                <c:pt idx="169">
                  <c:v>-0.84799999999999998</c:v>
                </c:pt>
                <c:pt idx="170">
                  <c:v>-0.84799999999999998</c:v>
                </c:pt>
                <c:pt idx="171">
                  <c:v>-0.84799999999999998</c:v>
                </c:pt>
                <c:pt idx="172">
                  <c:v>-0.84799999999999998</c:v>
                </c:pt>
                <c:pt idx="173">
                  <c:v>-0.84799999999999998</c:v>
                </c:pt>
                <c:pt idx="174">
                  <c:v>-0.84799999999999998</c:v>
                </c:pt>
                <c:pt idx="175">
                  <c:v>-0.84799999999999998</c:v>
                </c:pt>
                <c:pt idx="176">
                  <c:v>-0.84799999999999998</c:v>
                </c:pt>
                <c:pt idx="177">
                  <c:v>-0.84799999999999998</c:v>
                </c:pt>
                <c:pt idx="178">
                  <c:v>-0.84799999999999998</c:v>
                </c:pt>
                <c:pt idx="179">
                  <c:v>-0.84799999999999998</c:v>
                </c:pt>
                <c:pt idx="180">
                  <c:v>-0.84799999999999998</c:v>
                </c:pt>
                <c:pt idx="181">
                  <c:v>-0.84799999999999998</c:v>
                </c:pt>
                <c:pt idx="182">
                  <c:v>-0.84799999999999998</c:v>
                </c:pt>
                <c:pt idx="183">
                  <c:v>-0.84799999999999998</c:v>
                </c:pt>
                <c:pt idx="184">
                  <c:v>-0.84799999999999998</c:v>
                </c:pt>
                <c:pt idx="185">
                  <c:v>-0.84799999999999998</c:v>
                </c:pt>
                <c:pt idx="186">
                  <c:v>-0.84799999999999998</c:v>
                </c:pt>
                <c:pt idx="187">
                  <c:v>-0.84799999999999998</c:v>
                </c:pt>
                <c:pt idx="188">
                  <c:v>-0.84799999999999998</c:v>
                </c:pt>
                <c:pt idx="189">
                  <c:v>-0.84799999999999998</c:v>
                </c:pt>
                <c:pt idx="190">
                  <c:v>-0.84799999999999998</c:v>
                </c:pt>
                <c:pt idx="191">
                  <c:v>-0.84799999999999998</c:v>
                </c:pt>
                <c:pt idx="192">
                  <c:v>-0.84799999999999998</c:v>
                </c:pt>
                <c:pt idx="193">
                  <c:v>-0.84799999999999998</c:v>
                </c:pt>
                <c:pt idx="194">
                  <c:v>-0.84799999999999998</c:v>
                </c:pt>
                <c:pt idx="195">
                  <c:v>-0.84799999999999998</c:v>
                </c:pt>
                <c:pt idx="196">
                  <c:v>-0.84799999999999998</c:v>
                </c:pt>
                <c:pt idx="197">
                  <c:v>-0.84799999999999998</c:v>
                </c:pt>
                <c:pt idx="198">
                  <c:v>-0.84799999999999998</c:v>
                </c:pt>
                <c:pt idx="199">
                  <c:v>-0.84799999999999998</c:v>
                </c:pt>
                <c:pt idx="200">
                  <c:v>-0.84799999999999998</c:v>
                </c:pt>
                <c:pt idx="201">
                  <c:v>-0.84799999999999998</c:v>
                </c:pt>
                <c:pt idx="202">
                  <c:v>-0.84799999999999998</c:v>
                </c:pt>
                <c:pt idx="203">
                  <c:v>-0.84799999999999998</c:v>
                </c:pt>
                <c:pt idx="204">
                  <c:v>-0.84799999999999998</c:v>
                </c:pt>
                <c:pt idx="205">
                  <c:v>-0.84799999999999998</c:v>
                </c:pt>
                <c:pt idx="206">
                  <c:v>-0.84799999999999998</c:v>
                </c:pt>
                <c:pt idx="207">
                  <c:v>-0.84799999999999998</c:v>
                </c:pt>
                <c:pt idx="208">
                  <c:v>-0.84799999999999998</c:v>
                </c:pt>
                <c:pt idx="209">
                  <c:v>-0.84799999999999998</c:v>
                </c:pt>
                <c:pt idx="210">
                  <c:v>-0.84799999999999998</c:v>
                </c:pt>
                <c:pt idx="211">
                  <c:v>-0.84799999999999998</c:v>
                </c:pt>
                <c:pt idx="212">
                  <c:v>-0.84799999999999998</c:v>
                </c:pt>
                <c:pt idx="213">
                  <c:v>-0.84799999999999998</c:v>
                </c:pt>
                <c:pt idx="214">
                  <c:v>-0.84799999999999998</c:v>
                </c:pt>
                <c:pt idx="215">
                  <c:v>-0.84799999999999998</c:v>
                </c:pt>
                <c:pt idx="216">
                  <c:v>-0.84799999999999998</c:v>
                </c:pt>
                <c:pt idx="217">
                  <c:v>-0.84799999999999998</c:v>
                </c:pt>
                <c:pt idx="218">
                  <c:v>-0.84799999999999998</c:v>
                </c:pt>
                <c:pt idx="219">
                  <c:v>-0.8479999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14B2-4341-B9D1-66DA8D05556F}"/>
            </c:ext>
          </c:extLst>
        </c:ser>
        <c:ser>
          <c:idx val="3"/>
          <c:order val="3"/>
          <c:tx>
            <c:strRef>
              <c:f>画图!$E$1</c:f>
              <c:strCache>
                <c:ptCount val="1"/>
              </c:strCache>
            </c:strRef>
          </c:tx>
          <c:spPr>
            <a:ln w="19050">
              <a:solidFill>
                <a:srgbClr val="FFB3B3"/>
              </a:solidFill>
            </a:ln>
          </c:spPr>
          <c:marker>
            <c:symbol val="none"/>
          </c:marker>
          <c:cat>
            <c:strRef>
              <c:f>画图!$A$2:$A$221</c:f>
              <c:strCache>
                <c:ptCount val="22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</c:strCache>
            </c:strRef>
          </c:cat>
          <c:val>
            <c:numRef>
              <c:f>画图!$E$2:$E$221</c:f>
              <c:numCache>
                <c:formatCode>0.00_);[Red]\(0.00\)</c:formatCode>
                <c:ptCount val="2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14B2-4341-B9D1-66DA8D05556F}"/>
            </c:ext>
          </c:extLst>
        </c:ser>
        <c:ser>
          <c:idx val="4"/>
          <c:order val="4"/>
          <c:tx>
            <c:strRef>
              <c:f>画图!$F$1</c:f>
              <c:strCache>
                <c:ptCount val="1"/>
              </c:strCache>
            </c:strRef>
          </c:tx>
          <c:spPr>
            <a:ln w="19050">
              <a:solidFill>
                <a:srgbClr val="75C4FF"/>
              </a:solidFill>
              <a:prstDash val="sysDash"/>
            </a:ln>
          </c:spPr>
          <c:marker>
            <c:symbol val="none"/>
          </c:marker>
          <c:cat>
            <c:strRef>
              <c:f>画图!$A$2:$A$221</c:f>
              <c:strCache>
                <c:ptCount val="22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</c:strCache>
            </c:strRef>
          </c:cat>
          <c:val>
            <c:numRef>
              <c:f>画图!$F$2:$F$221</c:f>
              <c:numCache>
                <c:formatCode>0.00_);[Red]\(0.00\)</c:formatCode>
                <c:ptCount val="220"/>
                <c:pt idx="0">
                  <c:v>0.84799999999999998</c:v>
                </c:pt>
                <c:pt idx="1">
                  <c:v>0.84799999999999998</c:v>
                </c:pt>
                <c:pt idx="2">
                  <c:v>0.84799999999999998</c:v>
                </c:pt>
                <c:pt idx="3">
                  <c:v>0.84799999999999998</c:v>
                </c:pt>
                <c:pt idx="4">
                  <c:v>0.84799999999999998</c:v>
                </c:pt>
                <c:pt idx="5">
                  <c:v>0.84799999999999998</c:v>
                </c:pt>
                <c:pt idx="6">
                  <c:v>0.84799999999999998</c:v>
                </c:pt>
                <c:pt idx="7">
                  <c:v>0.84799999999999998</c:v>
                </c:pt>
                <c:pt idx="8">
                  <c:v>0.84799999999999998</c:v>
                </c:pt>
                <c:pt idx="9">
                  <c:v>0.84799999999999998</c:v>
                </c:pt>
                <c:pt idx="10">
                  <c:v>0.84799999999999998</c:v>
                </c:pt>
                <c:pt idx="11">
                  <c:v>0.84799999999999998</c:v>
                </c:pt>
                <c:pt idx="12">
                  <c:v>0.84799999999999998</c:v>
                </c:pt>
                <c:pt idx="13">
                  <c:v>0.84799999999999998</c:v>
                </c:pt>
                <c:pt idx="14">
                  <c:v>0.84799999999999998</c:v>
                </c:pt>
                <c:pt idx="15">
                  <c:v>0.84799999999999998</c:v>
                </c:pt>
                <c:pt idx="16">
                  <c:v>0.84799999999999998</c:v>
                </c:pt>
                <c:pt idx="17">
                  <c:v>0.84799999999999998</c:v>
                </c:pt>
                <c:pt idx="18">
                  <c:v>0.84799999999999998</c:v>
                </c:pt>
                <c:pt idx="19">
                  <c:v>0.84799999999999998</c:v>
                </c:pt>
                <c:pt idx="20">
                  <c:v>0.84799999999999998</c:v>
                </c:pt>
                <c:pt idx="21">
                  <c:v>0.84799999999999998</c:v>
                </c:pt>
                <c:pt idx="22">
                  <c:v>0.84799999999999998</c:v>
                </c:pt>
                <c:pt idx="23">
                  <c:v>0.84799999999999998</c:v>
                </c:pt>
                <c:pt idx="24">
                  <c:v>0.84799999999999998</c:v>
                </c:pt>
                <c:pt idx="25">
                  <c:v>0.84799999999999998</c:v>
                </c:pt>
                <c:pt idx="26">
                  <c:v>0.84799999999999998</c:v>
                </c:pt>
                <c:pt idx="27">
                  <c:v>0.84799999999999998</c:v>
                </c:pt>
                <c:pt idx="28">
                  <c:v>0.84799999999999998</c:v>
                </c:pt>
                <c:pt idx="29">
                  <c:v>0.84799999999999998</c:v>
                </c:pt>
                <c:pt idx="30">
                  <c:v>0.84799999999999998</c:v>
                </c:pt>
                <c:pt idx="31">
                  <c:v>0.84799999999999998</c:v>
                </c:pt>
                <c:pt idx="32">
                  <c:v>0.84799999999999998</c:v>
                </c:pt>
                <c:pt idx="33">
                  <c:v>0.84799999999999998</c:v>
                </c:pt>
                <c:pt idx="34">
                  <c:v>0.84799999999999998</c:v>
                </c:pt>
                <c:pt idx="35">
                  <c:v>0.84799999999999998</c:v>
                </c:pt>
                <c:pt idx="36">
                  <c:v>0.84799999999999998</c:v>
                </c:pt>
                <c:pt idx="37">
                  <c:v>0.84799999999999998</c:v>
                </c:pt>
                <c:pt idx="38">
                  <c:v>0.84799999999999998</c:v>
                </c:pt>
                <c:pt idx="39">
                  <c:v>0.84799999999999998</c:v>
                </c:pt>
                <c:pt idx="40">
                  <c:v>0.84799999999999998</c:v>
                </c:pt>
                <c:pt idx="41">
                  <c:v>0.84799999999999998</c:v>
                </c:pt>
                <c:pt idx="42">
                  <c:v>0.84799999999999998</c:v>
                </c:pt>
                <c:pt idx="43">
                  <c:v>0.84799999999999998</c:v>
                </c:pt>
                <c:pt idx="44">
                  <c:v>0.84799999999999998</c:v>
                </c:pt>
                <c:pt idx="45">
                  <c:v>0.84799999999999998</c:v>
                </c:pt>
                <c:pt idx="46">
                  <c:v>0.84799999999999998</c:v>
                </c:pt>
                <c:pt idx="47">
                  <c:v>0.84799999999999998</c:v>
                </c:pt>
                <c:pt idx="48">
                  <c:v>0.84799999999999998</c:v>
                </c:pt>
                <c:pt idx="49">
                  <c:v>0.84799999999999998</c:v>
                </c:pt>
                <c:pt idx="50">
                  <c:v>0.84799999999999998</c:v>
                </c:pt>
                <c:pt idx="51">
                  <c:v>0.84799999999999998</c:v>
                </c:pt>
                <c:pt idx="52">
                  <c:v>0.84799999999999998</c:v>
                </c:pt>
                <c:pt idx="53">
                  <c:v>0.84799999999999998</c:v>
                </c:pt>
                <c:pt idx="54">
                  <c:v>0.84799999999999998</c:v>
                </c:pt>
                <c:pt idx="55">
                  <c:v>0.84799999999999998</c:v>
                </c:pt>
                <c:pt idx="56">
                  <c:v>0.84799999999999998</c:v>
                </c:pt>
                <c:pt idx="57">
                  <c:v>0.84799999999999998</c:v>
                </c:pt>
                <c:pt idx="58">
                  <c:v>0.84799999999999998</c:v>
                </c:pt>
                <c:pt idx="59">
                  <c:v>0.84799999999999998</c:v>
                </c:pt>
                <c:pt idx="60">
                  <c:v>0.84799999999999998</c:v>
                </c:pt>
                <c:pt idx="61">
                  <c:v>0.84799999999999998</c:v>
                </c:pt>
                <c:pt idx="62">
                  <c:v>0.84799999999999998</c:v>
                </c:pt>
                <c:pt idx="63">
                  <c:v>0.84799999999999998</c:v>
                </c:pt>
                <c:pt idx="64">
                  <c:v>0.84799999999999998</c:v>
                </c:pt>
                <c:pt idx="65">
                  <c:v>0.84799999999999998</c:v>
                </c:pt>
                <c:pt idx="66">
                  <c:v>0.84799999999999998</c:v>
                </c:pt>
                <c:pt idx="67">
                  <c:v>0.84799999999999998</c:v>
                </c:pt>
                <c:pt idx="68">
                  <c:v>0.84799999999999998</c:v>
                </c:pt>
                <c:pt idx="69">
                  <c:v>0.84799999999999998</c:v>
                </c:pt>
                <c:pt idx="70">
                  <c:v>0.84799999999999998</c:v>
                </c:pt>
                <c:pt idx="71">
                  <c:v>0.84799999999999998</c:v>
                </c:pt>
                <c:pt idx="72">
                  <c:v>0.84799999999999998</c:v>
                </c:pt>
                <c:pt idx="73">
                  <c:v>0.84799999999999998</c:v>
                </c:pt>
                <c:pt idx="74">
                  <c:v>0.84799999999999998</c:v>
                </c:pt>
                <c:pt idx="75">
                  <c:v>0.84799999999999998</c:v>
                </c:pt>
                <c:pt idx="76">
                  <c:v>0.84799999999999998</c:v>
                </c:pt>
                <c:pt idx="77">
                  <c:v>0.84799999999999998</c:v>
                </c:pt>
                <c:pt idx="78">
                  <c:v>0.84799999999999998</c:v>
                </c:pt>
                <c:pt idx="79">
                  <c:v>0.84799999999999998</c:v>
                </c:pt>
                <c:pt idx="80">
                  <c:v>0.84799999999999998</c:v>
                </c:pt>
                <c:pt idx="81">
                  <c:v>0.84799999999999998</c:v>
                </c:pt>
                <c:pt idx="82">
                  <c:v>0.84799999999999998</c:v>
                </c:pt>
                <c:pt idx="83">
                  <c:v>0.84799999999999998</c:v>
                </c:pt>
                <c:pt idx="84">
                  <c:v>0.84799999999999998</c:v>
                </c:pt>
                <c:pt idx="85">
                  <c:v>0.84799999999999998</c:v>
                </c:pt>
                <c:pt idx="86">
                  <c:v>0.84799999999999998</c:v>
                </c:pt>
                <c:pt idx="87">
                  <c:v>0.84799999999999998</c:v>
                </c:pt>
                <c:pt idx="88">
                  <c:v>0.84799999999999998</c:v>
                </c:pt>
                <c:pt idx="89">
                  <c:v>0.84799999999999998</c:v>
                </c:pt>
                <c:pt idx="90">
                  <c:v>0.84799999999999998</c:v>
                </c:pt>
                <c:pt idx="91">
                  <c:v>0.84799999999999998</c:v>
                </c:pt>
                <c:pt idx="92">
                  <c:v>0.84799999999999998</c:v>
                </c:pt>
                <c:pt idx="93">
                  <c:v>0.84799999999999998</c:v>
                </c:pt>
                <c:pt idx="94">
                  <c:v>0.84799999999999998</c:v>
                </c:pt>
                <c:pt idx="95">
                  <c:v>0.84799999999999998</c:v>
                </c:pt>
                <c:pt idx="96">
                  <c:v>0.84799999999999998</c:v>
                </c:pt>
                <c:pt idx="97">
                  <c:v>0.84799999999999998</c:v>
                </c:pt>
                <c:pt idx="98">
                  <c:v>0.84799999999999998</c:v>
                </c:pt>
                <c:pt idx="99">
                  <c:v>0.84799999999999998</c:v>
                </c:pt>
                <c:pt idx="100">
                  <c:v>0.84799999999999998</c:v>
                </c:pt>
                <c:pt idx="101">
                  <c:v>0.84799999999999998</c:v>
                </c:pt>
                <c:pt idx="102">
                  <c:v>0.84799999999999998</c:v>
                </c:pt>
                <c:pt idx="103">
                  <c:v>0.84799999999999998</c:v>
                </c:pt>
                <c:pt idx="104">
                  <c:v>0.84799999999999998</c:v>
                </c:pt>
                <c:pt idx="105">
                  <c:v>0.84799999999999998</c:v>
                </c:pt>
                <c:pt idx="106">
                  <c:v>0.84799999999999998</c:v>
                </c:pt>
                <c:pt idx="107">
                  <c:v>0.84799999999999998</c:v>
                </c:pt>
                <c:pt idx="108">
                  <c:v>0.84799999999999998</c:v>
                </c:pt>
                <c:pt idx="109">
                  <c:v>0.84799999999999998</c:v>
                </c:pt>
                <c:pt idx="110">
                  <c:v>0.84799999999999998</c:v>
                </c:pt>
                <c:pt idx="111">
                  <c:v>0.84799999999999998</c:v>
                </c:pt>
                <c:pt idx="112">
                  <c:v>0.84799999999999998</c:v>
                </c:pt>
                <c:pt idx="113">
                  <c:v>0.84799999999999998</c:v>
                </c:pt>
                <c:pt idx="114">
                  <c:v>0.84799999999999998</c:v>
                </c:pt>
                <c:pt idx="115">
                  <c:v>0.84799999999999998</c:v>
                </c:pt>
                <c:pt idx="116">
                  <c:v>0.84799999999999998</c:v>
                </c:pt>
                <c:pt idx="117">
                  <c:v>0.84799999999999998</c:v>
                </c:pt>
                <c:pt idx="118">
                  <c:v>0.84799999999999998</c:v>
                </c:pt>
                <c:pt idx="119">
                  <c:v>0.84799999999999998</c:v>
                </c:pt>
                <c:pt idx="120">
                  <c:v>0.84799999999999998</c:v>
                </c:pt>
                <c:pt idx="121">
                  <c:v>0.84799999999999998</c:v>
                </c:pt>
                <c:pt idx="122">
                  <c:v>0.84799999999999998</c:v>
                </c:pt>
                <c:pt idx="123">
                  <c:v>0.84799999999999998</c:v>
                </c:pt>
                <c:pt idx="124">
                  <c:v>0.84799999999999998</c:v>
                </c:pt>
                <c:pt idx="125">
                  <c:v>0.84799999999999998</c:v>
                </c:pt>
                <c:pt idx="126">
                  <c:v>0.84799999999999998</c:v>
                </c:pt>
                <c:pt idx="127">
                  <c:v>0.84799999999999998</c:v>
                </c:pt>
                <c:pt idx="128">
                  <c:v>0.84799999999999998</c:v>
                </c:pt>
                <c:pt idx="129">
                  <c:v>0.84799999999999998</c:v>
                </c:pt>
                <c:pt idx="130">
                  <c:v>0.84799999999999998</c:v>
                </c:pt>
                <c:pt idx="131">
                  <c:v>0.84799999999999998</c:v>
                </c:pt>
                <c:pt idx="132">
                  <c:v>0.84799999999999998</c:v>
                </c:pt>
                <c:pt idx="133">
                  <c:v>0.84799999999999998</c:v>
                </c:pt>
                <c:pt idx="134">
                  <c:v>0.84799999999999998</c:v>
                </c:pt>
                <c:pt idx="135">
                  <c:v>0.84799999999999998</c:v>
                </c:pt>
                <c:pt idx="136">
                  <c:v>0.84799999999999998</c:v>
                </c:pt>
                <c:pt idx="137">
                  <c:v>0.84799999999999998</c:v>
                </c:pt>
                <c:pt idx="138">
                  <c:v>0.84799999999999998</c:v>
                </c:pt>
                <c:pt idx="139">
                  <c:v>0.84799999999999998</c:v>
                </c:pt>
                <c:pt idx="140">
                  <c:v>0.84799999999999998</c:v>
                </c:pt>
                <c:pt idx="141">
                  <c:v>0.84799999999999998</c:v>
                </c:pt>
                <c:pt idx="142">
                  <c:v>0.84799999999999998</c:v>
                </c:pt>
                <c:pt idx="143">
                  <c:v>0.84799999999999998</c:v>
                </c:pt>
                <c:pt idx="144">
                  <c:v>0.84799999999999998</c:v>
                </c:pt>
                <c:pt idx="145">
                  <c:v>0.84799999999999998</c:v>
                </c:pt>
                <c:pt idx="146">
                  <c:v>0.84799999999999998</c:v>
                </c:pt>
                <c:pt idx="147">
                  <c:v>0.84799999999999998</c:v>
                </c:pt>
                <c:pt idx="148">
                  <c:v>0.84799999999999998</c:v>
                </c:pt>
                <c:pt idx="149">
                  <c:v>0.84799999999999998</c:v>
                </c:pt>
                <c:pt idx="150">
                  <c:v>0.84799999999999998</c:v>
                </c:pt>
                <c:pt idx="151">
                  <c:v>0.84799999999999998</c:v>
                </c:pt>
                <c:pt idx="152">
                  <c:v>0.84799999999999998</c:v>
                </c:pt>
                <c:pt idx="153">
                  <c:v>0.84799999999999998</c:v>
                </c:pt>
                <c:pt idx="154">
                  <c:v>0.84799999999999998</c:v>
                </c:pt>
                <c:pt idx="155">
                  <c:v>0.84799999999999998</c:v>
                </c:pt>
                <c:pt idx="156">
                  <c:v>0.84799999999999998</c:v>
                </c:pt>
                <c:pt idx="157">
                  <c:v>0.84799999999999998</c:v>
                </c:pt>
                <c:pt idx="158">
                  <c:v>0.84799999999999998</c:v>
                </c:pt>
                <c:pt idx="159">
                  <c:v>0.84799999999999998</c:v>
                </c:pt>
                <c:pt idx="160">
                  <c:v>0.84799999999999998</c:v>
                </c:pt>
                <c:pt idx="161">
                  <c:v>0.84799999999999998</c:v>
                </c:pt>
                <c:pt idx="162">
                  <c:v>0.84799999999999998</c:v>
                </c:pt>
                <c:pt idx="163">
                  <c:v>0.84799999999999998</c:v>
                </c:pt>
                <c:pt idx="164">
                  <c:v>0.84799999999999998</c:v>
                </c:pt>
                <c:pt idx="165">
                  <c:v>0.84799999999999998</c:v>
                </c:pt>
                <c:pt idx="166">
                  <c:v>0.84799999999999998</c:v>
                </c:pt>
                <c:pt idx="167">
                  <c:v>0.84799999999999998</c:v>
                </c:pt>
                <c:pt idx="168">
                  <c:v>0.84799999999999998</c:v>
                </c:pt>
                <c:pt idx="169">
                  <c:v>0.84799999999999998</c:v>
                </c:pt>
                <c:pt idx="170">
                  <c:v>0.84799999999999998</c:v>
                </c:pt>
                <c:pt idx="171">
                  <c:v>0.84799999999999998</c:v>
                </c:pt>
                <c:pt idx="172">
                  <c:v>0.84799999999999998</c:v>
                </c:pt>
                <c:pt idx="173">
                  <c:v>0.84799999999999998</c:v>
                </c:pt>
                <c:pt idx="174">
                  <c:v>0.84799999999999998</c:v>
                </c:pt>
                <c:pt idx="175">
                  <c:v>0.84799999999999998</c:v>
                </c:pt>
                <c:pt idx="176">
                  <c:v>0.84799999999999998</c:v>
                </c:pt>
                <c:pt idx="177">
                  <c:v>0.84799999999999998</c:v>
                </c:pt>
                <c:pt idx="178">
                  <c:v>0.84799999999999998</c:v>
                </c:pt>
                <c:pt idx="179">
                  <c:v>0.84799999999999998</c:v>
                </c:pt>
                <c:pt idx="180">
                  <c:v>0.84799999999999998</c:v>
                </c:pt>
                <c:pt idx="181">
                  <c:v>0.84799999999999998</c:v>
                </c:pt>
                <c:pt idx="182">
                  <c:v>0.84799999999999998</c:v>
                </c:pt>
                <c:pt idx="183">
                  <c:v>0.84799999999999998</c:v>
                </c:pt>
                <c:pt idx="184">
                  <c:v>0.84799999999999998</c:v>
                </c:pt>
                <c:pt idx="185">
                  <c:v>0.84799999999999998</c:v>
                </c:pt>
                <c:pt idx="186">
                  <c:v>0.84799999999999998</c:v>
                </c:pt>
                <c:pt idx="187">
                  <c:v>0.84799999999999998</c:v>
                </c:pt>
                <c:pt idx="188">
                  <c:v>0.84799999999999998</c:v>
                </c:pt>
                <c:pt idx="189">
                  <c:v>0.84799999999999998</c:v>
                </c:pt>
                <c:pt idx="190">
                  <c:v>0.84799999999999998</c:v>
                </c:pt>
                <c:pt idx="191">
                  <c:v>0.84799999999999998</c:v>
                </c:pt>
                <c:pt idx="192">
                  <c:v>0.84799999999999998</c:v>
                </c:pt>
                <c:pt idx="193">
                  <c:v>0.84799999999999998</c:v>
                </c:pt>
                <c:pt idx="194">
                  <c:v>0.84799999999999998</c:v>
                </c:pt>
                <c:pt idx="195">
                  <c:v>0.84799999999999998</c:v>
                </c:pt>
                <c:pt idx="196">
                  <c:v>0.84799999999999998</c:v>
                </c:pt>
                <c:pt idx="197">
                  <c:v>0.84799999999999998</c:v>
                </c:pt>
                <c:pt idx="198">
                  <c:v>0.84799999999999998</c:v>
                </c:pt>
                <c:pt idx="199">
                  <c:v>0.84799999999999998</c:v>
                </c:pt>
                <c:pt idx="200">
                  <c:v>0.84799999999999998</c:v>
                </c:pt>
                <c:pt idx="201">
                  <c:v>0.84799999999999998</c:v>
                </c:pt>
                <c:pt idx="202">
                  <c:v>0.84799999999999998</c:v>
                </c:pt>
                <c:pt idx="203">
                  <c:v>0.84799999999999998</c:v>
                </c:pt>
                <c:pt idx="204">
                  <c:v>0.84799999999999998</c:v>
                </c:pt>
                <c:pt idx="205">
                  <c:v>0.84799999999999998</c:v>
                </c:pt>
                <c:pt idx="206">
                  <c:v>0.84799999999999998</c:v>
                </c:pt>
                <c:pt idx="207">
                  <c:v>0.84799999999999998</c:v>
                </c:pt>
                <c:pt idx="208">
                  <c:v>0.84799999999999998</c:v>
                </c:pt>
                <c:pt idx="209">
                  <c:v>0.84799999999999998</c:v>
                </c:pt>
                <c:pt idx="210">
                  <c:v>0.84799999999999998</c:v>
                </c:pt>
                <c:pt idx="211">
                  <c:v>0.84799999999999998</c:v>
                </c:pt>
                <c:pt idx="212">
                  <c:v>0.84799999999999998</c:v>
                </c:pt>
                <c:pt idx="213">
                  <c:v>0.84799999999999998</c:v>
                </c:pt>
                <c:pt idx="214">
                  <c:v>0.84799999999999998</c:v>
                </c:pt>
                <c:pt idx="215">
                  <c:v>0.84799999999999998</c:v>
                </c:pt>
                <c:pt idx="216">
                  <c:v>0.84799999999999998</c:v>
                </c:pt>
                <c:pt idx="217">
                  <c:v>0.84799999999999998</c:v>
                </c:pt>
                <c:pt idx="218">
                  <c:v>0.84799999999999998</c:v>
                </c:pt>
                <c:pt idx="219">
                  <c:v>0.8479999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14B2-4341-B9D1-66DA8D05556F}"/>
            </c:ext>
          </c:extLst>
        </c:ser>
        <c:ser>
          <c:idx val="5"/>
          <c:order val="5"/>
          <c:tx>
            <c:strRef>
              <c:f>画图!$G$1</c:f>
              <c:strCache>
                <c:ptCount val="1"/>
              </c:strCache>
            </c:strRef>
          </c:tx>
          <c:spPr>
            <a:ln w="19050">
              <a:solidFill>
                <a:srgbClr val="878787"/>
              </a:solidFill>
              <a:prstDash val="sysDash"/>
            </a:ln>
          </c:spPr>
          <c:marker>
            <c:symbol val="none"/>
          </c:marker>
          <c:cat>
            <c:strRef>
              <c:f>画图!$A$2:$A$221</c:f>
              <c:strCache>
                <c:ptCount val="220"/>
                <c:pt idx="0">
                  <c:v>2025-01-02</c:v>
                </c:pt>
                <c:pt idx="1">
                  <c:v>2025-01-03</c:v>
                </c:pt>
                <c:pt idx="2">
                  <c:v>2025-01-06</c:v>
                </c:pt>
                <c:pt idx="3">
                  <c:v>2025-01-07</c:v>
                </c:pt>
                <c:pt idx="4">
                  <c:v>2025-01-08</c:v>
                </c:pt>
                <c:pt idx="5">
                  <c:v>2025-01-09</c:v>
                </c:pt>
                <c:pt idx="6">
                  <c:v>2025-01-10</c:v>
                </c:pt>
                <c:pt idx="7">
                  <c:v>2025-01-13</c:v>
                </c:pt>
                <c:pt idx="8">
                  <c:v>2025-01-14</c:v>
                </c:pt>
                <c:pt idx="9">
                  <c:v>2025-01-15</c:v>
                </c:pt>
                <c:pt idx="10">
                  <c:v>2025-01-16</c:v>
                </c:pt>
                <c:pt idx="11">
                  <c:v>2025-01-17</c:v>
                </c:pt>
                <c:pt idx="12">
                  <c:v>2025-01-20</c:v>
                </c:pt>
                <c:pt idx="13">
                  <c:v>2025-01-21</c:v>
                </c:pt>
                <c:pt idx="14">
                  <c:v>2025-01-22</c:v>
                </c:pt>
                <c:pt idx="15">
                  <c:v>2025-01-23</c:v>
                </c:pt>
                <c:pt idx="16">
                  <c:v>2025-01-24</c:v>
                </c:pt>
                <c:pt idx="17">
                  <c:v>2025-01-27</c:v>
                </c:pt>
                <c:pt idx="18">
                  <c:v>2025-02-05</c:v>
                </c:pt>
                <c:pt idx="19">
                  <c:v>2025-02-06</c:v>
                </c:pt>
                <c:pt idx="20">
                  <c:v>2025-02-07</c:v>
                </c:pt>
                <c:pt idx="21">
                  <c:v>2025-02-10</c:v>
                </c:pt>
                <c:pt idx="22">
                  <c:v>2025-02-11</c:v>
                </c:pt>
                <c:pt idx="23">
                  <c:v>2025-02-12</c:v>
                </c:pt>
                <c:pt idx="24">
                  <c:v>2025-02-13</c:v>
                </c:pt>
                <c:pt idx="25">
                  <c:v>2025-02-14</c:v>
                </c:pt>
                <c:pt idx="26">
                  <c:v>2025-02-17</c:v>
                </c:pt>
                <c:pt idx="27">
                  <c:v>2025-02-18</c:v>
                </c:pt>
                <c:pt idx="28">
                  <c:v>2025-02-19</c:v>
                </c:pt>
                <c:pt idx="29">
                  <c:v>2025-02-20</c:v>
                </c:pt>
                <c:pt idx="30">
                  <c:v>2025-02-21</c:v>
                </c:pt>
                <c:pt idx="31">
                  <c:v>2025-02-24</c:v>
                </c:pt>
                <c:pt idx="32">
                  <c:v>2025-02-25</c:v>
                </c:pt>
                <c:pt idx="33">
                  <c:v>2025-02-26</c:v>
                </c:pt>
                <c:pt idx="34">
                  <c:v>2025-02-27</c:v>
                </c:pt>
                <c:pt idx="35">
                  <c:v>2025-02-28</c:v>
                </c:pt>
                <c:pt idx="36">
                  <c:v>2025-03-03</c:v>
                </c:pt>
                <c:pt idx="37">
                  <c:v>2025-03-04</c:v>
                </c:pt>
                <c:pt idx="38">
                  <c:v>2025-03-05</c:v>
                </c:pt>
                <c:pt idx="39">
                  <c:v>2025-03-06</c:v>
                </c:pt>
                <c:pt idx="40">
                  <c:v>2025-03-07</c:v>
                </c:pt>
                <c:pt idx="41">
                  <c:v>2025-03-10</c:v>
                </c:pt>
                <c:pt idx="42">
                  <c:v>2025-03-11</c:v>
                </c:pt>
                <c:pt idx="43">
                  <c:v>2025-03-12</c:v>
                </c:pt>
                <c:pt idx="44">
                  <c:v>2025-03-13</c:v>
                </c:pt>
                <c:pt idx="45">
                  <c:v>2025-03-14</c:v>
                </c:pt>
                <c:pt idx="46">
                  <c:v>2025-03-17</c:v>
                </c:pt>
                <c:pt idx="47">
                  <c:v>2025-03-18</c:v>
                </c:pt>
                <c:pt idx="48">
                  <c:v>2025-03-19</c:v>
                </c:pt>
                <c:pt idx="49">
                  <c:v>2025-03-20</c:v>
                </c:pt>
                <c:pt idx="50">
                  <c:v>2025-03-21</c:v>
                </c:pt>
                <c:pt idx="51">
                  <c:v>2025-03-24</c:v>
                </c:pt>
                <c:pt idx="52">
                  <c:v>2025-03-25</c:v>
                </c:pt>
                <c:pt idx="53">
                  <c:v>2025-03-26</c:v>
                </c:pt>
                <c:pt idx="54">
                  <c:v>2025-03-27</c:v>
                </c:pt>
                <c:pt idx="55">
                  <c:v>2025-03-28</c:v>
                </c:pt>
                <c:pt idx="56">
                  <c:v>2025-03-31</c:v>
                </c:pt>
                <c:pt idx="57">
                  <c:v>2025-04-01</c:v>
                </c:pt>
                <c:pt idx="58">
                  <c:v>2025-04-02</c:v>
                </c:pt>
                <c:pt idx="59">
                  <c:v>2025-04-03</c:v>
                </c:pt>
                <c:pt idx="60">
                  <c:v>2025-04-07</c:v>
                </c:pt>
                <c:pt idx="61">
                  <c:v>2025-04-08</c:v>
                </c:pt>
                <c:pt idx="62">
                  <c:v>2025-04-09</c:v>
                </c:pt>
                <c:pt idx="63">
                  <c:v>2025-04-10</c:v>
                </c:pt>
                <c:pt idx="64">
                  <c:v>2025-04-11</c:v>
                </c:pt>
                <c:pt idx="65">
                  <c:v>2025-04-14</c:v>
                </c:pt>
                <c:pt idx="66">
                  <c:v>2025-04-15</c:v>
                </c:pt>
                <c:pt idx="67">
                  <c:v>2025-04-16</c:v>
                </c:pt>
                <c:pt idx="68">
                  <c:v>2025-04-17</c:v>
                </c:pt>
                <c:pt idx="69">
                  <c:v>2025-04-18</c:v>
                </c:pt>
                <c:pt idx="70">
                  <c:v>2025-04-21</c:v>
                </c:pt>
                <c:pt idx="71">
                  <c:v>2025-04-22</c:v>
                </c:pt>
                <c:pt idx="72">
                  <c:v>2025-04-23</c:v>
                </c:pt>
                <c:pt idx="73">
                  <c:v>2025-04-24</c:v>
                </c:pt>
                <c:pt idx="74">
                  <c:v>2025-04-25</c:v>
                </c:pt>
                <c:pt idx="75">
                  <c:v>2025-04-28</c:v>
                </c:pt>
                <c:pt idx="76">
                  <c:v>2025-04-29</c:v>
                </c:pt>
                <c:pt idx="77">
                  <c:v>2025-04-30</c:v>
                </c:pt>
                <c:pt idx="78">
                  <c:v>2025-05-06</c:v>
                </c:pt>
                <c:pt idx="79">
                  <c:v>2025-05-07</c:v>
                </c:pt>
                <c:pt idx="80">
                  <c:v>2025-05-08</c:v>
                </c:pt>
                <c:pt idx="81">
                  <c:v>2025-05-09</c:v>
                </c:pt>
                <c:pt idx="82">
                  <c:v>2025-05-12</c:v>
                </c:pt>
                <c:pt idx="83">
                  <c:v>2025-05-13</c:v>
                </c:pt>
                <c:pt idx="84">
                  <c:v>2025-05-14</c:v>
                </c:pt>
                <c:pt idx="85">
                  <c:v>2025-05-15</c:v>
                </c:pt>
                <c:pt idx="86">
                  <c:v>2025-05-16</c:v>
                </c:pt>
                <c:pt idx="87">
                  <c:v>2025-05-19</c:v>
                </c:pt>
                <c:pt idx="88">
                  <c:v>2025-05-20</c:v>
                </c:pt>
                <c:pt idx="89">
                  <c:v>2025-05-21</c:v>
                </c:pt>
                <c:pt idx="90">
                  <c:v>2025-05-22</c:v>
                </c:pt>
                <c:pt idx="91">
                  <c:v>2025-05-23</c:v>
                </c:pt>
                <c:pt idx="92">
                  <c:v>2025-05-26</c:v>
                </c:pt>
                <c:pt idx="93">
                  <c:v>2025-05-27</c:v>
                </c:pt>
                <c:pt idx="94">
                  <c:v>2025-05-28</c:v>
                </c:pt>
                <c:pt idx="95">
                  <c:v>2025-05-29</c:v>
                </c:pt>
                <c:pt idx="96">
                  <c:v>2025-05-30</c:v>
                </c:pt>
                <c:pt idx="97">
                  <c:v>2025-06-03</c:v>
                </c:pt>
                <c:pt idx="98">
                  <c:v>2025-06-04</c:v>
                </c:pt>
                <c:pt idx="99">
                  <c:v>2025-06-05</c:v>
                </c:pt>
                <c:pt idx="100">
                  <c:v>2025-06-06</c:v>
                </c:pt>
                <c:pt idx="101">
                  <c:v>2025-06-09</c:v>
                </c:pt>
                <c:pt idx="102">
                  <c:v>2025-06-10</c:v>
                </c:pt>
                <c:pt idx="103">
                  <c:v>2025-06-11</c:v>
                </c:pt>
                <c:pt idx="104">
                  <c:v>2025-06-12</c:v>
                </c:pt>
                <c:pt idx="105">
                  <c:v>2025-06-13</c:v>
                </c:pt>
                <c:pt idx="106">
                  <c:v>2025-06-16</c:v>
                </c:pt>
                <c:pt idx="107">
                  <c:v>2025-06-17</c:v>
                </c:pt>
                <c:pt idx="108">
                  <c:v>2025-06-18</c:v>
                </c:pt>
                <c:pt idx="109">
                  <c:v>2025-06-19</c:v>
                </c:pt>
                <c:pt idx="110">
                  <c:v>2025-06-20</c:v>
                </c:pt>
                <c:pt idx="111">
                  <c:v>2025-06-23</c:v>
                </c:pt>
                <c:pt idx="112">
                  <c:v>2025-06-24</c:v>
                </c:pt>
                <c:pt idx="113">
                  <c:v>2025-06-25</c:v>
                </c:pt>
                <c:pt idx="114">
                  <c:v>2025-06-26</c:v>
                </c:pt>
                <c:pt idx="115">
                  <c:v>2025-06-27</c:v>
                </c:pt>
                <c:pt idx="116">
                  <c:v>2025-06-30</c:v>
                </c:pt>
                <c:pt idx="117">
                  <c:v>2025-07-01</c:v>
                </c:pt>
                <c:pt idx="118">
                  <c:v>2025-07-02</c:v>
                </c:pt>
                <c:pt idx="119">
                  <c:v>2025-07-03</c:v>
                </c:pt>
                <c:pt idx="120">
                  <c:v>2025-07-04</c:v>
                </c:pt>
                <c:pt idx="121">
                  <c:v>2025-07-07</c:v>
                </c:pt>
                <c:pt idx="122">
                  <c:v>2025-07-08</c:v>
                </c:pt>
                <c:pt idx="123">
                  <c:v>2025-07-09</c:v>
                </c:pt>
                <c:pt idx="124">
                  <c:v>2025-07-10</c:v>
                </c:pt>
                <c:pt idx="125">
                  <c:v>2025-07-11</c:v>
                </c:pt>
                <c:pt idx="126">
                  <c:v>2025-07-14</c:v>
                </c:pt>
                <c:pt idx="127">
                  <c:v>2025-07-15</c:v>
                </c:pt>
                <c:pt idx="128">
                  <c:v>2025-07-16</c:v>
                </c:pt>
                <c:pt idx="129">
                  <c:v>2025-07-17</c:v>
                </c:pt>
                <c:pt idx="130">
                  <c:v>2025-07-18</c:v>
                </c:pt>
                <c:pt idx="131">
                  <c:v>2025-07-21</c:v>
                </c:pt>
                <c:pt idx="132">
                  <c:v>2025-07-22</c:v>
                </c:pt>
                <c:pt idx="133">
                  <c:v>2025-07-23</c:v>
                </c:pt>
                <c:pt idx="134">
                  <c:v>2025-07-24</c:v>
                </c:pt>
                <c:pt idx="135">
                  <c:v>2025-07-25</c:v>
                </c:pt>
                <c:pt idx="136">
                  <c:v>2025-07-28</c:v>
                </c:pt>
                <c:pt idx="137">
                  <c:v>2025-07-29</c:v>
                </c:pt>
                <c:pt idx="138">
                  <c:v>2025-07-30</c:v>
                </c:pt>
                <c:pt idx="139">
                  <c:v>2025-07-31</c:v>
                </c:pt>
                <c:pt idx="140">
                  <c:v>2025-08-01</c:v>
                </c:pt>
                <c:pt idx="141">
                  <c:v>2025-08-04</c:v>
                </c:pt>
                <c:pt idx="142">
                  <c:v>2025-08-05</c:v>
                </c:pt>
                <c:pt idx="143">
                  <c:v>2025-08-06</c:v>
                </c:pt>
                <c:pt idx="144">
                  <c:v>2025-08-07</c:v>
                </c:pt>
                <c:pt idx="145">
                  <c:v>2025-08-08</c:v>
                </c:pt>
                <c:pt idx="146">
                  <c:v>2025-08-11</c:v>
                </c:pt>
                <c:pt idx="147">
                  <c:v>2025-08-12</c:v>
                </c:pt>
                <c:pt idx="148">
                  <c:v>2025-08-13</c:v>
                </c:pt>
                <c:pt idx="149">
                  <c:v>2025-08-14</c:v>
                </c:pt>
                <c:pt idx="150">
                  <c:v>2025-08-15</c:v>
                </c:pt>
                <c:pt idx="151">
                  <c:v>2025-08-18</c:v>
                </c:pt>
                <c:pt idx="152">
                  <c:v>2025-08-19</c:v>
                </c:pt>
                <c:pt idx="153">
                  <c:v>2025-08-20</c:v>
                </c:pt>
                <c:pt idx="154">
                  <c:v>2025-08-21</c:v>
                </c:pt>
                <c:pt idx="155">
                  <c:v>2025-08-22</c:v>
                </c:pt>
                <c:pt idx="156">
                  <c:v>2025-08-25</c:v>
                </c:pt>
                <c:pt idx="157">
                  <c:v>2025-08-26</c:v>
                </c:pt>
                <c:pt idx="158">
                  <c:v>2025-08-27</c:v>
                </c:pt>
                <c:pt idx="159">
                  <c:v>2025-08-28</c:v>
                </c:pt>
                <c:pt idx="160">
                  <c:v>2025-08-29</c:v>
                </c:pt>
                <c:pt idx="161">
                  <c:v>2025-09-01</c:v>
                </c:pt>
                <c:pt idx="162">
                  <c:v>2025-09-02</c:v>
                </c:pt>
                <c:pt idx="163">
                  <c:v>2025-09-03</c:v>
                </c:pt>
                <c:pt idx="164">
                  <c:v>2025-09-04</c:v>
                </c:pt>
                <c:pt idx="165">
                  <c:v>2025-09-05</c:v>
                </c:pt>
                <c:pt idx="166">
                  <c:v>2025-09-08</c:v>
                </c:pt>
                <c:pt idx="167">
                  <c:v>2025-09-09</c:v>
                </c:pt>
                <c:pt idx="168">
                  <c:v>2025-09-10</c:v>
                </c:pt>
                <c:pt idx="169">
                  <c:v>2025-09-11</c:v>
                </c:pt>
                <c:pt idx="170">
                  <c:v>2025-09-12</c:v>
                </c:pt>
                <c:pt idx="171">
                  <c:v>2025-09-15</c:v>
                </c:pt>
                <c:pt idx="172">
                  <c:v>2025-09-16</c:v>
                </c:pt>
                <c:pt idx="173">
                  <c:v>2025-09-17</c:v>
                </c:pt>
                <c:pt idx="174">
                  <c:v>2025-09-18</c:v>
                </c:pt>
                <c:pt idx="175">
                  <c:v>2025-09-19</c:v>
                </c:pt>
                <c:pt idx="176">
                  <c:v>2025-09-22</c:v>
                </c:pt>
                <c:pt idx="177">
                  <c:v>2025-09-23</c:v>
                </c:pt>
                <c:pt idx="178">
                  <c:v>2025-09-24</c:v>
                </c:pt>
                <c:pt idx="179">
                  <c:v>2025-09-25</c:v>
                </c:pt>
                <c:pt idx="180">
                  <c:v>2025-09-26</c:v>
                </c:pt>
                <c:pt idx="181">
                  <c:v>2025-09-29</c:v>
                </c:pt>
                <c:pt idx="182">
                  <c:v>2025-09-30</c:v>
                </c:pt>
                <c:pt idx="183">
                  <c:v>2025-10-09</c:v>
                </c:pt>
                <c:pt idx="184">
                  <c:v>2025-10-10</c:v>
                </c:pt>
                <c:pt idx="185">
                  <c:v>2025-10-13</c:v>
                </c:pt>
                <c:pt idx="186">
                  <c:v>2025-10-14</c:v>
                </c:pt>
                <c:pt idx="187">
                  <c:v>2025-10-15</c:v>
                </c:pt>
                <c:pt idx="188">
                  <c:v>2025-10-16</c:v>
                </c:pt>
                <c:pt idx="189">
                  <c:v>2025-10-17</c:v>
                </c:pt>
                <c:pt idx="190">
                  <c:v>2025-10-20</c:v>
                </c:pt>
                <c:pt idx="191">
                  <c:v>2025-10-21</c:v>
                </c:pt>
                <c:pt idx="192">
                  <c:v>2025-10-22</c:v>
                </c:pt>
                <c:pt idx="193">
                  <c:v>2025-10-23</c:v>
                </c:pt>
                <c:pt idx="194">
                  <c:v>2025-10-24</c:v>
                </c:pt>
                <c:pt idx="195">
                  <c:v>2025-10-27</c:v>
                </c:pt>
                <c:pt idx="196">
                  <c:v>2025-10-28</c:v>
                </c:pt>
                <c:pt idx="197">
                  <c:v>2025-10-29</c:v>
                </c:pt>
                <c:pt idx="198">
                  <c:v>2025-10-30</c:v>
                </c:pt>
                <c:pt idx="199">
                  <c:v>2025-10-31</c:v>
                </c:pt>
                <c:pt idx="200">
                  <c:v>2025-11-03</c:v>
                </c:pt>
                <c:pt idx="201">
                  <c:v>2025-11-04</c:v>
                </c:pt>
                <c:pt idx="202">
                  <c:v>2025-11-05</c:v>
                </c:pt>
                <c:pt idx="203">
                  <c:v>2025-11-06</c:v>
                </c:pt>
                <c:pt idx="204">
                  <c:v>2025-11-07</c:v>
                </c:pt>
                <c:pt idx="205">
                  <c:v>2025-11-10</c:v>
                </c:pt>
                <c:pt idx="206">
                  <c:v>2025-11-11</c:v>
                </c:pt>
                <c:pt idx="207">
                  <c:v>2025-11-12</c:v>
                </c:pt>
                <c:pt idx="208">
                  <c:v>2025-11-13</c:v>
                </c:pt>
                <c:pt idx="209">
                  <c:v>2025-11-14</c:v>
                </c:pt>
                <c:pt idx="210">
                  <c:v>2025-11-17</c:v>
                </c:pt>
                <c:pt idx="211">
                  <c:v>2025-11-18</c:v>
                </c:pt>
                <c:pt idx="212">
                  <c:v>2025-11-19</c:v>
                </c:pt>
                <c:pt idx="213">
                  <c:v>2025-11-20</c:v>
                </c:pt>
                <c:pt idx="214">
                  <c:v>2025-11-21</c:v>
                </c:pt>
                <c:pt idx="215">
                  <c:v>2025-11-24</c:v>
                </c:pt>
                <c:pt idx="216">
                  <c:v>2025-11-25</c:v>
                </c:pt>
                <c:pt idx="217">
                  <c:v>2025-11-26</c:v>
                </c:pt>
                <c:pt idx="218">
                  <c:v>2025-11-27</c:v>
                </c:pt>
                <c:pt idx="219">
                  <c:v>2025-11-28</c:v>
                </c:pt>
              </c:strCache>
            </c:strRef>
          </c:cat>
          <c:val>
            <c:numRef>
              <c:f>画图!$G$2:$G$211</c:f>
              <c:numCache>
                <c:formatCode>0.00_);[Red]\(0.00\)</c:formatCode>
                <c:ptCount val="210"/>
                <c:pt idx="0">
                  <c:v>1.696</c:v>
                </c:pt>
                <c:pt idx="1">
                  <c:v>1.696</c:v>
                </c:pt>
                <c:pt idx="2">
                  <c:v>1.696</c:v>
                </c:pt>
                <c:pt idx="3">
                  <c:v>1.696</c:v>
                </c:pt>
                <c:pt idx="4">
                  <c:v>1.696</c:v>
                </c:pt>
                <c:pt idx="5">
                  <c:v>1.696</c:v>
                </c:pt>
                <c:pt idx="6">
                  <c:v>1.696</c:v>
                </c:pt>
                <c:pt idx="7">
                  <c:v>1.696</c:v>
                </c:pt>
                <c:pt idx="8">
                  <c:v>1.696</c:v>
                </c:pt>
                <c:pt idx="9">
                  <c:v>1.696</c:v>
                </c:pt>
                <c:pt idx="10">
                  <c:v>1.696</c:v>
                </c:pt>
                <c:pt idx="11">
                  <c:v>1.696</c:v>
                </c:pt>
                <c:pt idx="12">
                  <c:v>1.696</c:v>
                </c:pt>
                <c:pt idx="13">
                  <c:v>1.696</c:v>
                </c:pt>
                <c:pt idx="14">
                  <c:v>1.696</c:v>
                </c:pt>
                <c:pt idx="15">
                  <c:v>1.696</c:v>
                </c:pt>
                <c:pt idx="16">
                  <c:v>1.696</c:v>
                </c:pt>
                <c:pt idx="17">
                  <c:v>1.696</c:v>
                </c:pt>
                <c:pt idx="18">
                  <c:v>1.696</c:v>
                </c:pt>
                <c:pt idx="19">
                  <c:v>1.696</c:v>
                </c:pt>
                <c:pt idx="20">
                  <c:v>1.696</c:v>
                </c:pt>
                <c:pt idx="21">
                  <c:v>1.696</c:v>
                </c:pt>
                <c:pt idx="22">
                  <c:v>1.696</c:v>
                </c:pt>
                <c:pt idx="23">
                  <c:v>1.696</c:v>
                </c:pt>
                <c:pt idx="24">
                  <c:v>1.696</c:v>
                </c:pt>
                <c:pt idx="25">
                  <c:v>1.696</c:v>
                </c:pt>
                <c:pt idx="26">
                  <c:v>1.696</c:v>
                </c:pt>
                <c:pt idx="27">
                  <c:v>1.696</c:v>
                </c:pt>
                <c:pt idx="28">
                  <c:v>1.696</c:v>
                </c:pt>
                <c:pt idx="29">
                  <c:v>1.696</c:v>
                </c:pt>
                <c:pt idx="30">
                  <c:v>1.696</c:v>
                </c:pt>
                <c:pt idx="31">
                  <c:v>1.696</c:v>
                </c:pt>
                <c:pt idx="32">
                  <c:v>1.696</c:v>
                </c:pt>
                <c:pt idx="33">
                  <c:v>1.696</c:v>
                </c:pt>
                <c:pt idx="34">
                  <c:v>1.696</c:v>
                </c:pt>
                <c:pt idx="35">
                  <c:v>1.696</c:v>
                </c:pt>
                <c:pt idx="36">
                  <c:v>1.696</c:v>
                </c:pt>
                <c:pt idx="37">
                  <c:v>1.696</c:v>
                </c:pt>
                <c:pt idx="38">
                  <c:v>1.696</c:v>
                </c:pt>
                <c:pt idx="39">
                  <c:v>1.696</c:v>
                </c:pt>
                <c:pt idx="40">
                  <c:v>1.696</c:v>
                </c:pt>
                <c:pt idx="41">
                  <c:v>1.696</c:v>
                </c:pt>
                <c:pt idx="42">
                  <c:v>1.696</c:v>
                </c:pt>
                <c:pt idx="43">
                  <c:v>1.696</c:v>
                </c:pt>
                <c:pt idx="44">
                  <c:v>1.696</c:v>
                </c:pt>
                <c:pt idx="45">
                  <c:v>1.696</c:v>
                </c:pt>
                <c:pt idx="46">
                  <c:v>1.696</c:v>
                </c:pt>
                <c:pt idx="47">
                  <c:v>1.696</c:v>
                </c:pt>
                <c:pt idx="48">
                  <c:v>1.696</c:v>
                </c:pt>
                <c:pt idx="49">
                  <c:v>1.696</c:v>
                </c:pt>
                <c:pt idx="50">
                  <c:v>1.696</c:v>
                </c:pt>
                <c:pt idx="51">
                  <c:v>1.696</c:v>
                </c:pt>
                <c:pt idx="52">
                  <c:v>1.696</c:v>
                </c:pt>
                <c:pt idx="53">
                  <c:v>1.696</c:v>
                </c:pt>
                <c:pt idx="54">
                  <c:v>1.696</c:v>
                </c:pt>
                <c:pt idx="55">
                  <c:v>1.696</c:v>
                </c:pt>
                <c:pt idx="56">
                  <c:v>1.696</c:v>
                </c:pt>
                <c:pt idx="57">
                  <c:v>1.696</c:v>
                </c:pt>
                <c:pt idx="58">
                  <c:v>1.696</c:v>
                </c:pt>
                <c:pt idx="59">
                  <c:v>1.696</c:v>
                </c:pt>
                <c:pt idx="60">
                  <c:v>1.696</c:v>
                </c:pt>
                <c:pt idx="61">
                  <c:v>1.696</c:v>
                </c:pt>
                <c:pt idx="62">
                  <c:v>1.696</c:v>
                </c:pt>
                <c:pt idx="63">
                  <c:v>1.696</c:v>
                </c:pt>
                <c:pt idx="64">
                  <c:v>1.696</c:v>
                </c:pt>
                <c:pt idx="65">
                  <c:v>1.696</c:v>
                </c:pt>
                <c:pt idx="66">
                  <c:v>1.696</c:v>
                </c:pt>
                <c:pt idx="67">
                  <c:v>1.696</c:v>
                </c:pt>
                <c:pt idx="68">
                  <c:v>1.696</c:v>
                </c:pt>
                <c:pt idx="69">
                  <c:v>1.696</c:v>
                </c:pt>
                <c:pt idx="70">
                  <c:v>1.696</c:v>
                </c:pt>
                <c:pt idx="71">
                  <c:v>1.696</c:v>
                </c:pt>
                <c:pt idx="72">
                  <c:v>1.696</c:v>
                </c:pt>
                <c:pt idx="73">
                  <c:v>1.696</c:v>
                </c:pt>
                <c:pt idx="74">
                  <c:v>1.696</c:v>
                </c:pt>
                <c:pt idx="75">
                  <c:v>1.696</c:v>
                </c:pt>
                <c:pt idx="76">
                  <c:v>1.696</c:v>
                </c:pt>
                <c:pt idx="77">
                  <c:v>1.696</c:v>
                </c:pt>
                <c:pt idx="78">
                  <c:v>1.696</c:v>
                </c:pt>
                <c:pt idx="79">
                  <c:v>1.696</c:v>
                </c:pt>
                <c:pt idx="80">
                  <c:v>1.696</c:v>
                </c:pt>
                <c:pt idx="81">
                  <c:v>1.696</c:v>
                </c:pt>
                <c:pt idx="82">
                  <c:v>1.696</c:v>
                </c:pt>
                <c:pt idx="83">
                  <c:v>1.696</c:v>
                </c:pt>
                <c:pt idx="84">
                  <c:v>1.696</c:v>
                </c:pt>
                <c:pt idx="85">
                  <c:v>1.696</c:v>
                </c:pt>
                <c:pt idx="86">
                  <c:v>1.696</c:v>
                </c:pt>
                <c:pt idx="87">
                  <c:v>1.696</c:v>
                </c:pt>
                <c:pt idx="88">
                  <c:v>1.696</c:v>
                </c:pt>
                <c:pt idx="89">
                  <c:v>1.696</c:v>
                </c:pt>
                <c:pt idx="90">
                  <c:v>1.696</c:v>
                </c:pt>
                <c:pt idx="91">
                  <c:v>1.696</c:v>
                </c:pt>
                <c:pt idx="92">
                  <c:v>1.696</c:v>
                </c:pt>
                <c:pt idx="93">
                  <c:v>1.696</c:v>
                </c:pt>
                <c:pt idx="94">
                  <c:v>1.696</c:v>
                </c:pt>
                <c:pt idx="95">
                  <c:v>1.696</c:v>
                </c:pt>
                <c:pt idx="96">
                  <c:v>1.696</c:v>
                </c:pt>
                <c:pt idx="97">
                  <c:v>1.696</c:v>
                </c:pt>
                <c:pt idx="98">
                  <c:v>1.696</c:v>
                </c:pt>
                <c:pt idx="99">
                  <c:v>1.696</c:v>
                </c:pt>
                <c:pt idx="100">
                  <c:v>1.696</c:v>
                </c:pt>
                <c:pt idx="101">
                  <c:v>1.696</c:v>
                </c:pt>
                <c:pt idx="102">
                  <c:v>1.696</c:v>
                </c:pt>
                <c:pt idx="103">
                  <c:v>1.696</c:v>
                </c:pt>
                <c:pt idx="104">
                  <c:v>1.696</c:v>
                </c:pt>
                <c:pt idx="105">
                  <c:v>1.696</c:v>
                </c:pt>
                <c:pt idx="106">
                  <c:v>1.696</c:v>
                </c:pt>
                <c:pt idx="107">
                  <c:v>1.696</c:v>
                </c:pt>
                <c:pt idx="108">
                  <c:v>1.696</c:v>
                </c:pt>
                <c:pt idx="109">
                  <c:v>1.696</c:v>
                </c:pt>
                <c:pt idx="110">
                  <c:v>1.696</c:v>
                </c:pt>
                <c:pt idx="111">
                  <c:v>1.696</c:v>
                </c:pt>
                <c:pt idx="112">
                  <c:v>1.696</c:v>
                </c:pt>
                <c:pt idx="113">
                  <c:v>1.696</c:v>
                </c:pt>
                <c:pt idx="114">
                  <c:v>1.696</c:v>
                </c:pt>
                <c:pt idx="115">
                  <c:v>1.696</c:v>
                </c:pt>
                <c:pt idx="116">
                  <c:v>1.696</c:v>
                </c:pt>
                <c:pt idx="117">
                  <c:v>1.696</c:v>
                </c:pt>
                <c:pt idx="118">
                  <c:v>1.696</c:v>
                </c:pt>
                <c:pt idx="119">
                  <c:v>1.696</c:v>
                </c:pt>
                <c:pt idx="120">
                  <c:v>1.696</c:v>
                </c:pt>
                <c:pt idx="121">
                  <c:v>1.696</c:v>
                </c:pt>
                <c:pt idx="122">
                  <c:v>1.696</c:v>
                </c:pt>
                <c:pt idx="123">
                  <c:v>1.696</c:v>
                </c:pt>
                <c:pt idx="124">
                  <c:v>1.696</c:v>
                </c:pt>
                <c:pt idx="125">
                  <c:v>1.696</c:v>
                </c:pt>
                <c:pt idx="126">
                  <c:v>1.696</c:v>
                </c:pt>
                <c:pt idx="127">
                  <c:v>1.696</c:v>
                </c:pt>
                <c:pt idx="128">
                  <c:v>1.696</c:v>
                </c:pt>
                <c:pt idx="129">
                  <c:v>1.696</c:v>
                </c:pt>
                <c:pt idx="130">
                  <c:v>1.696</c:v>
                </c:pt>
                <c:pt idx="131">
                  <c:v>1.696</c:v>
                </c:pt>
                <c:pt idx="132">
                  <c:v>1.696</c:v>
                </c:pt>
                <c:pt idx="133">
                  <c:v>1.696</c:v>
                </c:pt>
                <c:pt idx="134">
                  <c:v>1.696</c:v>
                </c:pt>
                <c:pt idx="135">
                  <c:v>1.696</c:v>
                </c:pt>
                <c:pt idx="136">
                  <c:v>1.696</c:v>
                </c:pt>
                <c:pt idx="137">
                  <c:v>1.696</c:v>
                </c:pt>
                <c:pt idx="138">
                  <c:v>1.696</c:v>
                </c:pt>
                <c:pt idx="139">
                  <c:v>1.696</c:v>
                </c:pt>
                <c:pt idx="140">
                  <c:v>1.696</c:v>
                </c:pt>
                <c:pt idx="141">
                  <c:v>1.696</c:v>
                </c:pt>
                <c:pt idx="142">
                  <c:v>1.696</c:v>
                </c:pt>
                <c:pt idx="143">
                  <c:v>1.696</c:v>
                </c:pt>
                <c:pt idx="144">
                  <c:v>1.696</c:v>
                </c:pt>
                <c:pt idx="145">
                  <c:v>1.696</c:v>
                </c:pt>
                <c:pt idx="146">
                  <c:v>1.696</c:v>
                </c:pt>
                <c:pt idx="147">
                  <c:v>1.696</c:v>
                </c:pt>
                <c:pt idx="148">
                  <c:v>1.696</c:v>
                </c:pt>
                <c:pt idx="149">
                  <c:v>1.696</c:v>
                </c:pt>
                <c:pt idx="150">
                  <c:v>1.696</c:v>
                </c:pt>
                <c:pt idx="151">
                  <c:v>1.696</c:v>
                </c:pt>
                <c:pt idx="152">
                  <c:v>1.696</c:v>
                </c:pt>
                <c:pt idx="153">
                  <c:v>1.696</c:v>
                </c:pt>
                <c:pt idx="154">
                  <c:v>1.696</c:v>
                </c:pt>
                <c:pt idx="155">
                  <c:v>1.696</c:v>
                </c:pt>
                <c:pt idx="156">
                  <c:v>1.696</c:v>
                </c:pt>
                <c:pt idx="157">
                  <c:v>1.696</c:v>
                </c:pt>
                <c:pt idx="158">
                  <c:v>1.696</c:v>
                </c:pt>
                <c:pt idx="159">
                  <c:v>1.696</c:v>
                </c:pt>
                <c:pt idx="160">
                  <c:v>1.696</c:v>
                </c:pt>
                <c:pt idx="161">
                  <c:v>1.696</c:v>
                </c:pt>
                <c:pt idx="162">
                  <c:v>1.696</c:v>
                </c:pt>
                <c:pt idx="163">
                  <c:v>1.696</c:v>
                </c:pt>
                <c:pt idx="164">
                  <c:v>1.696</c:v>
                </c:pt>
                <c:pt idx="165">
                  <c:v>1.696</c:v>
                </c:pt>
                <c:pt idx="166">
                  <c:v>1.696</c:v>
                </c:pt>
                <c:pt idx="167">
                  <c:v>1.696</c:v>
                </c:pt>
                <c:pt idx="168">
                  <c:v>1.696</c:v>
                </c:pt>
                <c:pt idx="169">
                  <c:v>1.696</c:v>
                </c:pt>
                <c:pt idx="170">
                  <c:v>1.696</c:v>
                </c:pt>
                <c:pt idx="171">
                  <c:v>1.696</c:v>
                </c:pt>
                <c:pt idx="172">
                  <c:v>1.696</c:v>
                </c:pt>
                <c:pt idx="173">
                  <c:v>1.696</c:v>
                </c:pt>
                <c:pt idx="174">
                  <c:v>1.696</c:v>
                </c:pt>
                <c:pt idx="175">
                  <c:v>1.696</c:v>
                </c:pt>
                <c:pt idx="176">
                  <c:v>1.696</c:v>
                </c:pt>
                <c:pt idx="177">
                  <c:v>1.696</c:v>
                </c:pt>
                <c:pt idx="178">
                  <c:v>1.696</c:v>
                </c:pt>
                <c:pt idx="179">
                  <c:v>1.696</c:v>
                </c:pt>
                <c:pt idx="180">
                  <c:v>1.696</c:v>
                </c:pt>
                <c:pt idx="181">
                  <c:v>1.696</c:v>
                </c:pt>
                <c:pt idx="182">
                  <c:v>1.696</c:v>
                </c:pt>
                <c:pt idx="183">
                  <c:v>1.696</c:v>
                </c:pt>
                <c:pt idx="184">
                  <c:v>1.696</c:v>
                </c:pt>
                <c:pt idx="185">
                  <c:v>1.696</c:v>
                </c:pt>
                <c:pt idx="186">
                  <c:v>1.696</c:v>
                </c:pt>
                <c:pt idx="187">
                  <c:v>1.696</c:v>
                </c:pt>
                <c:pt idx="188">
                  <c:v>1.696</c:v>
                </c:pt>
                <c:pt idx="189">
                  <c:v>1.696</c:v>
                </c:pt>
                <c:pt idx="190">
                  <c:v>1.696</c:v>
                </c:pt>
                <c:pt idx="191">
                  <c:v>1.696</c:v>
                </c:pt>
                <c:pt idx="192">
                  <c:v>1.696</c:v>
                </c:pt>
                <c:pt idx="193">
                  <c:v>1.696</c:v>
                </c:pt>
                <c:pt idx="194">
                  <c:v>1.696</c:v>
                </c:pt>
                <c:pt idx="195">
                  <c:v>1.696</c:v>
                </c:pt>
                <c:pt idx="196">
                  <c:v>1.696</c:v>
                </c:pt>
                <c:pt idx="197">
                  <c:v>1.696</c:v>
                </c:pt>
                <c:pt idx="198">
                  <c:v>1.696</c:v>
                </c:pt>
                <c:pt idx="199">
                  <c:v>1.696</c:v>
                </c:pt>
                <c:pt idx="200">
                  <c:v>1.696</c:v>
                </c:pt>
                <c:pt idx="201">
                  <c:v>1.696</c:v>
                </c:pt>
                <c:pt idx="202">
                  <c:v>1.696</c:v>
                </c:pt>
                <c:pt idx="203">
                  <c:v>1.696</c:v>
                </c:pt>
                <c:pt idx="204">
                  <c:v>1.696</c:v>
                </c:pt>
                <c:pt idx="205">
                  <c:v>1.696</c:v>
                </c:pt>
                <c:pt idx="206">
                  <c:v>1.696</c:v>
                </c:pt>
                <c:pt idx="207">
                  <c:v>1.696</c:v>
                </c:pt>
                <c:pt idx="208">
                  <c:v>1.696</c:v>
                </c:pt>
                <c:pt idx="209">
                  <c:v>1.6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14B2-4341-B9D1-66DA8D055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24276576"/>
        <c:axId val="424284192"/>
      </c:lineChart>
      <c:catAx>
        <c:axId val="424276576"/>
        <c:scaling>
          <c:orientation val="minMax"/>
        </c:scaling>
        <c:delete val="0"/>
        <c:axPos val="b"/>
        <c:numFmt formatCode="yyyy\-mm\-dd;@" sourceLinked="0"/>
        <c:majorTickMark val="out"/>
        <c:minorTickMark val="none"/>
        <c:tickLblPos val="low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424284192"/>
        <c:crosses val="autoZero"/>
        <c:auto val="1"/>
        <c:lblAlgn val="ctr"/>
        <c:lblOffset val="100"/>
        <c:noMultiLvlLbl val="1"/>
      </c:catAx>
      <c:valAx>
        <c:axId val="424284192"/>
        <c:scaling>
          <c:orientation val="minMax"/>
          <c:max val="4"/>
          <c:min val="-4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424276576"/>
        <c:crosses val="autoZero"/>
        <c:crossBetween val="between"/>
      </c:valAx>
      <c:spPr>
        <a:noFill/>
        <a:ln w="25400"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00">
          <a:latin typeface="仿宋_GB2312"/>
          <a:ea typeface="仿宋_GB2312"/>
          <a:cs typeface="仿宋_GB2312"/>
        </a:defRPr>
      </a:pPr>
      <a:endParaRPr lang="zh-C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宏观打分历史分位数</c:v>
                </c:pt>
              </c:strCache>
            </c:strRef>
          </c:tx>
          <c:spPr>
            <a:ln w="19050">
              <a:solidFill>
                <a:srgbClr val="0070C0"/>
              </a:solidFill>
            </a:ln>
          </c:spPr>
          <c:marker>
            <c:symbol val="none"/>
          </c:marker>
          <c:cat>
            <c:numRef>
              <c:f>Sheet1!$A$249:$A$296</c:f>
              <c:numCache>
                <c:formatCode>yyyy\-mm\-dd</c:formatCode>
                <c:ptCount val="48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</c:numCache>
            </c:numRef>
          </c:cat>
          <c:val>
            <c:numRef>
              <c:f>Sheet1!$B$249:$B$296</c:f>
              <c:numCache>
                <c:formatCode>0.0%</c:formatCode>
                <c:ptCount val="48"/>
                <c:pt idx="0">
                  <c:v>0.60899999999999999</c:v>
                </c:pt>
                <c:pt idx="1">
                  <c:v>0.55800000000000005</c:v>
                </c:pt>
                <c:pt idx="2">
                  <c:v>0.77300000000000002</c:v>
                </c:pt>
                <c:pt idx="3">
                  <c:v>0.5</c:v>
                </c:pt>
                <c:pt idx="4">
                  <c:v>0.27</c:v>
                </c:pt>
                <c:pt idx="5">
                  <c:v>0.64900000000000002</c:v>
                </c:pt>
                <c:pt idx="6">
                  <c:v>0.70799999999999996</c:v>
                </c:pt>
                <c:pt idx="7">
                  <c:v>0.78400000000000003</c:v>
                </c:pt>
                <c:pt idx="8">
                  <c:v>0.69299999999999995</c:v>
                </c:pt>
                <c:pt idx="9">
                  <c:v>0.2</c:v>
                </c:pt>
                <c:pt idx="10">
                  <c:v>0.17100000000000001</c:v>
                </c:pt>
                <c:pt idx="11">
                  <c:v>0.16</c:v>
                </c:pt>
                <c:pt idx="12">
                  <c:v>0.29499999999999998</c:v>
                </c:pt>
                <c:pt idx="13">
                  <c:v>0.38300000000000001</c:v>
                </c:pt>
                <c:pt idx="14">
                  <c:v>0.7</c:v>
                </c:pt>
                <c:pt idx="15">
                  <c:v>0.66</c:v>
                </c:pt>
                <c:pt idx="16">
                  <c:v>0.68899999999999995</c:v>
                </c:pt>
                <c:pt idx="17">
                  <c:v>0.63500000000000001</c:v>
                </c:pt>
                <c:pt idx="18">
                  <c:v>0.61599999999999999</c:v>
                </c:pt>
                <c:pt idx="19">
                  <c:v>0.81299999999999994</c:v>
                </c:pt>
                <c:pt idx="20">
                  <c:v>0.77700000000000002</c:v>
                </c:pt>
                <c:pt idx="21">
                  <c:v>0.79100000000000004</c:v>
                </c:pt>
                <c:pt idx="22">
                  <c:v>0.76200000000000001</c:v>
                </c:pt>
                <c:pt idx="23">
                  <c:v>0.64200000000000002</c:v>
                </c:pt>
                <c:pt idx="24">
                  <c:v>0.73699999999999999</c:v>
                </c:pt>
                <c:pt idx="25">
                  <c:v>0.65300000000000002</c:v>
                </c:pt>
                <c:pt idx="26">
                  <c:v>0.59799999999999998</c:v>
                </c:pt>
                <c:pt idx="27">
                  <c:v>0.67500000000000004</c:v>
                </c:pt>
                <c:pt idx="28">
                  <c:v>0.71699999999999997</c:v>
                </c:pt>
                <c:pt idx="29">
                  <c:v>0.79300000000000004</c:v>
                </c:pt>
                <c:pt idx="30">
                  <c:v>0.7</c:v>
                </c:pt>
                <c:pt idx="31">
                  <c:v>0.79200000000000004</c:v>
                </c:pt>
                <c:pt idx="32">
                  <c:v>0.83199999999999996</c:v>
                </c:pt>
                <c:pt idx="33">
                  <c:v>0.79600000000000004</c:v>
                </c:pt>
                <c:pt idx="34" formatCode="0.00%">
                  <c:v>0.80700000000000005</c:v>
                </c:pt>
                <c:pt idx="35" formatCode="0.00%">
                  <c:v>0.77300000000000002</c:v>
                </c:pt>
                <c:pt idx="36" formatCode="0.00%">
                  <c:v>0.48699999999999999</c:v>
                </c:pt>
                <c:pt idx="37" formatCode="0.00%">
                  <c:v>0.56999999999999995</c:v>
                </c:pt>
                <c:pt idx="38" formatCode="0.00%">
                  <c:v>0.58499999999999996</c:v>
                </c:pt>
                <c:pt idx="39" formatCode="0.00%">
                  <c:v>0.69</c:v>
                </c:pt>
                <c:pt idx="40" formatCode="0.00%">
                  <c:v>0.623</c:v>
                </c:pt>
                <c:pt idx="41" formatCode="0.00%">
                  <c:v>0.56200000000000006</c:v>
                </c:pt>
                <c:pt idx="42" formatCode="0.00%">
                  <c:v>0.50800000000000001</c:v>
                </c:pt>
                <c:pt idx="43" formatCode="0.00%">
                  <c:v>0.57199999999999995</c:v>
                </c:pt>
                <c:pt idx="44" formatCode="0.00%">
                  <c:v>0.82399999999999995</c:v>
                </c:pt>
                <c:pt idx="45" formatCode="0.00%">
                  <c:v>0.746</c:v>
                </c:pt>
                <c:pt idx="46" formatCode="0.00%">
                  <c:v>0.80500000000000005</c:v>
                </c:pt>
                <c:pt idx="47" formatCode="0.00%">
                  <c:v>0.649000000000000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4E3-4CF4-8E20-F777CF5323F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190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A$249:$A$296</c:f>
              <c:numCache>
                <c:formatCode>yyyy\-mm\-dd</c:formatCode>
                <c:ptCount val="48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</c:numCache>
            </c:numRef>
          </c:cat>
          <c:val>
            <c:numRef>
              <c:f>Sheet1!$C$249:$C$296</c:f>
              <c:numCache>
                <c:formatCode>0%</c:formatCode>
                <c:ptCount val="4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4E3-4CF4-8E20-F777CF5323F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9050">
              <a:solidFill>
                <a:srgbClr val="0D97FF"/>
              </a:solidFill>
            </a:ln>
          </c:spPr>
          <c:marker>
            <c:symbol val="none"/>
          </c:marker>
          <c:cat>
            <c:numRef>
              <c:f>Sheet1!$A$249:$A$296</c:f>
              <c:numCache>
                <c:formatCode>yyyy\-mm\-dd</c:formatCode>
                <c:ptCount val="48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</c:numCache>
            </c:numRef>
          </c:cat>
          <c:val>
            <c:numRef>
              <c:f>Sheet1!$D$249:$D$296</c:f>
              <c:numCache>
                <c:formatCode>0%</c:formatCode>
                <c:ptCount val="48"/>
                <c:pt idx="0">
                  <c:v>0.9</c:v>
                </c:pt>
                <c:pt idx="1">
                  <c:v>0.9</c:v>
                </c:pt>
                <c:pt idx="2">
                  <c:v>0.9</c:v>
                </c:pt>
                <c:pt idx="3">
                  <c:v>0.9</c:v>
                </c:pt>
                <c:pt idx="4">
                  <c:v>0.9</c:v>
                </c:pt>
                <c:pt idx="5">
                  <c:v>0.9</c:v>
                </c:pt>
                <c:pt idx="6">
                  <c:v>0.9</c:v>
                </c:pt>
                <c:pt idx="7">
                  <c:v>0.9</c:v>
                </c:pt>
                <c:pt idx="8">
                  <c:v>0.9</c:v>
                </c:pt>
                <c:pt idx="9">
                  <c:v>0.9</c:v>
                </c:pt>
                <c:pt idx="10">
                  <c:v>0.9</c:v>
                </c:pt>
                <c:pt idx="11">
                  <c:v>0.9</c:v>
                </c:pt>
                <c:pt idx="12">
                  <c:v>0.9</c:v>
                </c:pt>
                <c:pt idx="13">
                  <c:v>0.9</c:v>
                </c:pt>
                <c:pt idx="14">
                  <c:v>0.9</c:v>
                </c:pt>
                <c:pt idx="15">
                  <c:v>0.9</c:v>
                </c:pt>
                <c:pt idx="16">
                  <c:v>0.9</c:v>
                </c:pt>
                <c:pt idx="17">
                  <c:v>0.9</c:v>
                </c:pt>
                <c:pt idx="18">
                  <c:v>0.9</c:v>
                </c:pt>
                <c:pt idx="19">
                  <c:v>0.9</c:v>
                </c:pt>
                <c:pt idx="20">
                  <c:v>0.9</c:v>
                </c:pt>
                <c:pt idx="21">
                  <c:v>0.9</c:v>
                </c:pt>
                <c:pt idx="22">
                  <c:v>0.9</c:v>
                </c:pt>
                <c:pt idx="23">
                  <c:v>0.9</c:v>
                </c:pt>
                <c:pt idx="24">
                  <c:v>0.9</c:v>
                </c:pt>
                <c:pt idx="25">
                  <c:v>0.9</c:v>
                </c:pt>
                <c:pt idx="26">
                  <c:v>0.9</c:v>
                </c:pt>
                <c:pt idx="27">
                  <c:v>0.9</c:v>
                </c:pt>
                <c:pt idx="28">
                  <c:v>0.9</c:v>
                </c:pt>
                <c:pt idx="29">
                  <c:v>0.9</c:v>
                </c:pt>
                <c:pt idx="30">
                  <c:v>0.9</c:v>
                </c:pt>
                <c:pt idx="31">
                  <c:v>0.9</c:v>
                </c:pt>
                <c:pt idx="32">
                  <c:v>0.9</c:v>
                </c:pt>
                <c:pt idx="33">
                  <c:v>0.9</c:v>
                </c:pt>
                <c:pt idx="34">
                  <c:v>0.9</c:v>
                </c:pt>
                <c:pt idx="35">
                  <c:v>0.9</c:v>
                </c:pt>
                <c:pt idx="36">
                  <c:v>0.9</c:v>
                </c:pt>
                <c:pt idx="37">
                  <c:v>0.9</c:v>
                </c:pt>
                <c:pt idx="38">
                  <c:v>0.9</c:v>
                </c:pt>
                <c:pt idx="39">
                  <c:v>0.9</c:v>
                </c:pt>
                <c:pt idx="40">
                  <c:v>0.9</c:v>
                </c:pt>
                <c:pt idx="41">
                  <c:v>0.9</c:v>
                </c:pt>
                <c:pt idx="42">
                  <c:v>0.9</c:v>
                </c:pt>
                <c:pt idx="43">
                  <c:v>0.9</c:v>
                </c:pt>
                <c:pt idx="44">
                  <c:v>0.9</c:v>
                </c:pt>
                <c:pt idx="45">
                  <c:v>0.9</c:v>
                </c:pt>
                <c:pt idx="46">
                  <c:v>0.9</c:v>
                </c:pt>
                <c:pt idx="47">
                  <c:v>0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612A-4425-8DAE-0752072062F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ln w="19050">
              <a:solidFill>
                <a:srgbClr val="FFB3B3"/>
              </a:solidFill>
            </a:ln>
          </c:spPr>
          <c:marker>
            <c:symbol val="none"/>
          </c:marker>
          <c:cat>
            <c:numRef>
              <c:f>Sheet1!$A$249:$A$296</c:f>
              <c:numCache>
                <c:formatCode>yyyy\-mm\-dd</c:formatCode>
                <c:ptCount val="48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</c:numCache>
            </c:numRef>
          </c:cat>
          <c:val>
            <c:numRef>
              <c:f>Sheet1!$E$249:$E$296</c:f>
              <c:numCache>
                <c:formatCode>0%</c:formatCode>
                <c:ptCount val="48"/>
                <c:pt idx="0">
                  <c:v>0.69</c:v>
                </c:pt>
                <c:pt idx="1">
                  <c:v>0.69</c:v>
                </c:pt>
                <c:pt idx="2">
                  <c:v>0.69</c:v>
                </c:pt>
                <c:pt idx="3">
                  <c:v>0.69</c:v>
                </c:pt>
                <c:pt idx="4">
                  <c:v>0.69</c:v>
                </c:pt>
                <c:pt idx="5">
                  <c:v>0.69</c:v>
                </c:pt>
                <c:pt idx="6">
                  <c:v>0.69</c:v>
                </c:pt>
                <c:pt idx="7">
                  <c:v>0.69</c:v>
                </c:pt>
                <c:pt idx="8">
                  <c:v>0.69</c:v>
                </c:pt>
                <c:pt idx="9">
                  <c:v>0.69</c:v>
                </c:pt>
                <c:pt idx="10">
                  <c:v>0.69</c:v>
                </c:pt>
                <c:pt idx="11">
                  <c:v>0.69</c:v>
                </c:pt>
                <c:pt idx="12">
                  <c:v>0.69</c:v>
                </c:pt>
                <c:pt idx="13">
                  <c:v>0.69</c:v>
                </c:pt>
                <c:pt idx="14">
                  <c:v>0.69</c:v>
                </c:pt>
                <c:pt idx="15">
                  <c:v>0.69</c:v>
                </c:pt>
                <c:pt idx="16">
                  <c:v>0.69</c:v>
                </c:pt>
                <c:pt idx="17">
                  <c:v>0.69</c:v>
                </c:pt>
                <c:pt idx="18">
                  <c:v>0.69</c:v>
                </c:pt>
                <c:pt idx="19">
                  <c:v>0.69</c:v>
                </c:pt>
                <c:pt idx="20">
                  <c:v>0.69</c:v>
                </c:pt>
                <c:pt idx="21">
                  <c:v>0.69</c:v>
                </c:pt>
                <c:pt idx="22">
                  <c:v>0.69</c:v>
                </c:pt>
                <c:pt idx="23">
                  <c:v>0.69</c:v>
                </c:pt>
                <c:pt idx="24">
                  <c:v>0.69</c:v>
                </c:pt>
                <c:pt idx="25">
                  <c:v>0.69</c:v>
                </c:pt>
                <c:pt idx="26">
                  <c:v>0.69</c:v>
                </c:pt>
                <c:pt idx="27">
                  <c:v>0.69</c:v>
                </c:pt>
                <c:pt idx="28">
                  <c:v>0.69</c:v>
                </c:pt>
                <c:pt idx="29">
                  <c:v>0.69</c:v>
                </c:pt>
                <c:pt idx="30">
                  <c:v>0.69</c:v>
                </c:pt>
                <c:pt idx="31">
                  <c:v>0.69</c:v>
                </c:pt>
                <c:pt idx="32">
                  <c:v>0.69</c:v>
                </c:pt>
                <c:pt idx="33">
                  <c:v>0.69</c:v>
                </c:pt>
                <c:pt idx="34">
                  <c:v>0.69</c:v>
                </c:pt>
                <c:pt idx="35">
                  <c:v>0.69</c:v>
                </c:pt>
                <c:pt idx="36">
                  <c:v>0.69</c:v>
                </c:pt>
                <c:pt idx="37">
                  <c:v>0.69</c:v>
                </c:pt>
                <c:pt idx="38">
                  <c:v>0.69</c:v>
                </c:pt>
                <c:pt idx="39">
                  <c:v>0.69</c:v>
                </c:pt>
                <c:pt idx="40">
                  <c:v>0.69</c:v>
                </c:pt>
                <c:pt idx="41">
                  <c:v>0.69</c:v>
                </c:pt>
                <c:pt idx="42">
                  <c:v>0.69</c:v>
                </c:pt>
                <c:pt idx="43">
                  <c:v>0.69</c:v>
                </c:pt>
                <c:pt idx="44">
                  <c:v>0.69</c:v>
                </c:pt>
                <c:pt idx="45">
                  <c:v>0.69</c:v>
                </c:pt>
                <c:pt idx="46">
                  <c:v>0.69</c:v>
                </c:pt>
                <c:pt idx="47">
                  <c:v>0.6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612A-4425-8DAE-0752072062F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19050">
              <a:solidFill>
                <a:srgbClr val="75C4FF"/>
              </a:solidFill>
            </a:ln>
          </c:spPr>
          <c:marker>
            <c:symbol val="none"/>
          </c:marker>
          <c:cat>
            <c:numRef>
              <c:f>Sheet1!$A$249:$A$296</c:f>
              <c:numCache>
                <c:formatCode>yyyy\-mm\-dd</c:formatCode>
                <c:ptCount val="48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</c:numCache>
            </c:numRef>
          </c:cat>
          <c:val>
            <c:numRef>
              <c:f>Sheet1!$F$249:$F$296</c:f>
              <c:numCache>
                <c:formatCode>0.00%</c:formatCode>
                <c:ptCount val="48"/>
                <c:pt idx="0">
                  <c:v>0.36499999999999999</c:v>
                </c:pt>
                <c:pt idx="1">
                  <c:v>0.36499999999999999</c:v>
                </c:pt>
                <c:pt idx="2">
                  <c:v>0.36499999999999999</c:v>
                </c:pt>
                <c:pt idx="3">
                  <c:v>0.36499999999999999</c:v>
                </c:pt>
                <c:pt idx="4">
                  <c:v>0.36499999999999999</c:v>
                </c:pt>
                <c:pt idx="5">
                  <c:v>0.36499999999999999</c:v>
                </c:pt>
                <c:pt idx="6">
                  <c:v>0.36499999999999999</c:v>
                </c:pt>
                <c:pt idx="7">
                  <c:v>0.36499999999999999</c:v>
                </c:pt>
                <c:pt idx="8">
                  <c:v>0.36499999999999999</c:v>
                </c:pt>
                <c:pt idx="9">
                  <c:v>0.36499999999999999</c:v>
                </c:pt>
                <c:pt idx="10">
                  <c:v>0.36499999999999999</c:v>
                </c:pt>
                <c:pt idx="11">
                  <c:v>0.36499999999999999</c:v>
                </c:pt>
                <c:pt idx="12">
                  <c:v>0.36499999999999999</c:v>
                </c:pt>
                <c:pt idx="13">
                  <c:v>0.36499999999999999</c:v>
                </c:pt>
                <c:pt idx="14">
                  <c:v>0.36499999999999999</c:v>
                </c:pt>
                <c:pt idx="15">
                  <c:v>0.36499999999999999</c:v>
                </c:pt>
                <c:pt idx="16">
                  <c:v>0.36499999999999999</c:v>
                </c:pt>
                <c:pt idx="17">
                  <c:v>0.36499999999999999</c:v>
                </c:pt>
                <c:pt idx="18">
                  <c:v>0.36499999999999999</c:v>
                </c:pt>
                <c:pt idx="19">
                  <c:v>0.36499999999999999</c:v>
                </c:pt>
                <c:pt idx="20">
                  <c:v>0.36499999999999999</c:v>
                </c:pt>
                <c:pt idx="21">
                  <c:v>0.36499999999999999</c:v>
                </c:pt>
                <c:pt idx="22">
                  <c:v>0.36499999999999999</c:v>
                </c:pt>
                <c:pt idx="23">
                  <c:v>0.36499999999999999</c:v>
                </c:pt>
                <c:pt idx="24">
                  <c:v>0.36499999999999999</c:v>
                </c:pt>
                <c:pt idx="25">
                  <c:v>0.36499999999999999</c:v>
                </c:pt>
                <c:pt idx="26">
                  <c:v>0.36499999999999999</c:v>
                </c:pt>
                <c:pt idx="27">
                  <c:v>0.36499999999999999</c:v>
                </c:pt>
                <c:pt idx="28">
                  <c:v>0.36499999999999999</c:v>
                </c:pt>
                <c:pt idx="29">
                  <c:v>0.36499999999999999</c:v>
                </c:pt>
                <c:pt idx="30">
                  <c:v>0.36499999999999999</c:v>
                </c:pt>
                <c:pt idx="31">
                  <c:v>0.36499999999999999</c:v>
                </c:pt>
                <c:pt idx="32">
                  <c:v>0.36499999999999999</c:v>
                </c:pt>
                <c:pt idx="33">
                  <c:v>0.36499999999999999</c:v>
                </c:pt>
                <c:pt idx="34">
                  <c:v>0.36499999999999999</c:v>
                </c:pt>
                <c:pt idx="35">
                  <c:v>0.36499999999999999</c:v>
                </c:pt>
                <c:pt idx="36">
                  <c:v>0.36499999999999999</c:v>
                </c:pt>
                <c:pt idx="37">
                  <c:v>0.36499999999999999</c:v>
                </c:pt>
                <c:pt idx="38">
                  <c:v>0.36499999999999999</c:v>
                </c:pt>
                <c:pt idx="39">
                  <c:v>0.36499999999999999</c:v>
                </c:pt>
                <c:pt idx="40">
                  <c:v>0.36499999999999999</c:v>
                </c:pt>
                <c:pt idx="41">
                  <c:v>0.36499999999999999</c:v>
                </c:pt>
                <c:pt idx="42">
                  <c:v>0.36499999999999999</c:v>
                </c:pt>
                <c:pt idx="43">
                  <c:v>0.36499999999999999</c:v>
                </c:pt>
                <c:pt idx="44">
                  <c:v>0.36499999999999999</c:v>
                </c:pt>
                <c:pt idx="45">
                  <c:v>0.36499999999999999</c:v>
                </c:pt>
                <c:pt idx="46">
                  <c:v>0.36499999999999999</c:v>
                </c:pt>
                <c:pt idx="47">
                  <c:v>0.36499999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612A-4425-8DAE-0752072062F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19050">
              <a:solidFill>
                <a:srgbClr val="878787"/>
              </a:solidFill>
            </a:ln>
          </c:spPr>
          <c:marker>
            <c:symbol val="none"/>
          </c:marker>
          <c:cat>
            <c:numRef>
              <c:f>Sheet1!$A$249:$A$296</c:f>
              <c:numCache>
                <c:formatCode>yyyy\-mm\-dd</c:formatCode>
                <c:ptCount val="48"/>
                <c:pt idx="0">
                  <c:v>45662</c:v>
                </c:pt>
                <c:pt idx="1">
                  <c:v>45669</c:v>
                </c:pt>
                <c:pt idx="2">
                  <c:v>45676</c:v>
                </c:pt>
                <c:pt idx="3">
                  <c:v>45683</c:v>
                </c:pt>
                <c:pt idx="4">
                  <c:v>45690</c:v>
                </c:pt>
                <c:pt idx="5">
                  <c:v>45697</c:v>
                </c:pt>
                <c:pt idx="6">
                  <c:v>45704</c:v>
                </c:pt>
                <c:pt idx="7">
                  <c:v>45711</c:v>
                </c:pt>
                <c:pt idx="8">
                  <c:v>45718</c:v>
                </c:pt>
                <c:pt idx="9">
                  <c:v>45725</c:v>
                </c:pt>
                <c:pt idx="10">
                  <c:v>45732</c:v>
                </c:pt>
                <c:pt idx="11">
                  <c:v>45739</c:v>
                </c:pt>
                <c:pt idx="12">
                  <c:v>45746</c:v>
                </c:pt>
                <c:pt idx="13">
                  <c:v>45753</c:v>
                </c:pt>
                <c:pt idx="14">
                  <c:v>45760</c:v>
                </c:pt>
                <c:pt idx="15">
                  <c:v>45767</c:v>
                </c:pt>
                <c:pt idx="16">
                  <c:v>45774</c:v>
                </c:pt>
                <c:pt idx="17">
                  <c:v>45781</c:v>
                </c:pt>
                <c:pt idx="18">
                  <c:v>45788</c:v>
                </c:pt>
                <c:pt idx="19">
                  <c:v>45795</c:v>
                </c:pt>
                <c:pt idx="20">
                  <c:v>45802</c:v>
                </c:pt>
                <c:pt idx="21">
                  <c:v>45809</c:v>
                </c:pt>
                <c:pt idx="22">
                  <c:v>45816</c:v>
                </c:pt>
                <c:pt idx="23">
                  <c:v>45823</c:v>
                </c:pt>
                <c:pt idx="24">
                  <c:v>45830</c:v>
                </c:pt>
                <c:pt idx="25">
                  <c:v>45837</c:v>
                </c:pt>
                <c:pt idx="26">
                  <c:v>45844</c:v>
                </c:pt>
                <c:pt idx="27">
                  <c:v>45851</c:v>
                </c:pt>
                <c:pt idx="28">
                  <c:v>45858</c:v>
                </c:pt>
                <c:pt idx="29">
                  <c:v>45865</c:v>
                </c:pt>
                <c:pt idx="30">
                  <c:v>45872</c:v>
                </c:pt>
                <c:pt idx="31">
                  <c:v>45879</c:v>
                </c:pt>
                <c:pt idx="32">
                  <c:v>45886</c:v>
                </c:pt>
                <c:pt idx="33">
                  <c:v>45893</c:v>
                </c:pt>
                <c:pt idx="34">
                  <c:v>45900</c:v>
                </c:pt>
                <c:pt idx="35" formatCode="m/d/yyyy">
                  <c:v>45907</c:v>
                </c:pt>
                <c:pt idx="36" formatCode="m/d/yyyy">
                  <c:v>45914</c:v>
                </c:pt>
                <c:pt idx="37" formatCode="m/d/yyyy">
                  <c:v>45921</c:v>
                </c:pt>
                <c:pt idx="38" formatCode="m/d/yyyy">
                  <c:v>45928</c:v>
                </c:pt>
                <c:pt idx="39" formatCode="m/d/yyyy">
                  <c:v>45935</c:v>
                </c:pt>
                <c:pt idx="40" formatCode="m/d/yyyy">
                  <c:v>45942</c:v>
                </c:pt>
                <c:pt idx="41" formatCode="m/d/yyyy">
                  <c:v>45949</c:v>
                </c:pt>
                <c:pt idx="42" formatCode="m/d/yyyy">
                  <c:v>45956</c:v>
                </c:pt>
                <c:pt idx="43" formatCode="m/d/yyyy">
                  <c:v>45963</c:v>
                </c:pt>
                <c:pt idx="44" formatCode="m/d/yyyy">
                  <c:v>45970</c:v>
                </c:pt>
                <c:pt idx="45" formatCode="m/d/yyyy">
                  <c:v>45977</c:v>
                </c:pt>
                <c:pt idx="46" formatCode="m/d/yyyy">
                  <c:v>45984</c:v>
                </c:pt>
                <c:pt idx="47" formatCode="m/d/yyyy">
                  <c:v>45991</c:v>
                </c:pt>
              </c:numCache>
            </c:numRef>
          </c:cat>
          <c:val>
            <c:numRef>
              <c:f>Sheet1!$G$249:$G$296</c:f>
              <c:numCache>
                <c:formatCode>0%</c:formatCode>
                <c:ptCount val="48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2</c:v>
                </c:pt>
                <c:pt idx="9">
                  <c:v>0.2</c:v>
                </c:pt>
                <c:pt idx="10">
                  <c:v>0.2</c:v>
                </c:pt>
                <c:pt idx="11">
                  <c:v>0.2</c:v>
                </c:pt>
                <c:pt idx="12">
                  <c:v>0.2</c:v>
                </c:pt>
                <c:pt idx="13">
                  <c:v>0.2</c:v>
                </c:pt>
                <c:pt idx="14">
                  <c:v>0.2</c:v>
                </c:pt>
                <c:pt idx="15">
                  <c:v>0.2</c:v>
                </c:pt>
                <c:pt idx="16">
                  <c:v>0.2</c:v>
                </c:pt>
                <c:pt idx="17">
                  <c:v>0.2</c:v>
                </c:pt>
                <c:pt idx="18">
                  <c:v>0.2</c:v>
                </c:pt>
                <c:pt idx="19">
                  <c:v>0.2</c:v>
                </c:pt>
                <c:pt idx="20">
                  <c:v>0.2</c:v>
                </c:pt>
                <c:pt idx="21">
                  <c:v>0.2</c:v>
                </c:pt>
                <c:pt idx="22">
                  <c:v>0.2</c:v>
                </c:pt>
                <c:pt idx="23">
                  <c:v>0.2</c:v>
                </c:pt>
                <c:pt idx="24">
                  <c:v>0.2</c:v>
                </c:pt>
                <c:pt idx="25">
                  <c:v>0.2</c:v>
                </c:pt>
                <c:pt idx="26">
                  <c:v>0.2</c:v>
                </c:pt>
                <c:pt idx="27">
                  <c:v>0.2</c:v>
                </c:pt>
                <c:pt idx="28">
                  <c:v>0.2</c:v>
                </c:pt>
                <c:pt idx="29">
                  <c:v>0.2</c:v>
                </c:pt>
                <c:pt idx="30">
                  <c:v>0.2</c:v>
                </c:pt>
                <c:pt idx="31">
                  <c:v>0.2</c:v>
                </c:pt>
                <c:pt idx="32">
                  <c:v>0.2</c:v>
                </c:pt>
                <c:pt idx="33">
                  <c:v>0.2</c:v>
                </c:pt>
                <c:pt idx="34">
                  <c:v>0.2</c:v>
                </c:pt>
                <c:pt idx="35">
                  <c:v>0.2</c:v>
                </c:pt>
                <c:pt idx="36">
                  <c:v>0.2</c:v>
                </c:pt>
                <c:pt idx="37">
                  <c:v>0.2</c:v>
                </c:pt>
                <c:pt idx="38">
                  <c:v>0.2</c:v>
                </c:pt>
                <c:pt idx="39">
                  <c:v>0.2</c:v>
                </c:pt>
                <c:pt idx="40">
                  <c:v>0.2</c:v>
                </c:pt>
                <c:pt idx="41">
                  <c:v>0.2</c:v>
                </c:pt>
                <c:pt idx="42">
                  <c:v>0.2</c:v>
                </c:pt>
                <c:pt idx="43">
                  <c:v>0.2</c:v>
                </c:pt>
                <c:pt idx="44">
                  <c:v>0.2</c:v>
                </c:pt>
                <c:pt idx="45">
                  <c:v>0.2</c:v>
                </c:pt>
                <c:pt idx="46">
                  <c:v>0.2</c:v>
                </c:pt>
                <c:pt idx="47">
                  <c:v>0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B-612A-4425-8DAE-0752072062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0796960"/>
        <c:axId val="510797504"/>
      </c:lineChart>
      <c:dateAx>
        <c:axId val="510796960"/>
        <c:scaling>
          <c:orientation val="minMax"/>
        </c:scaling>
        <c:delete val="0"/>
        <c:axPos val="b"/>
        <c:numFmt formatCode="yyyy\-mm\-dd" sourceLinked="1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510797504"/>
        <c:crosses val="autoZero"/>
        <c:auto val="1"/>
        <c:lblOffset val="100"/>
        <c:baseTimeUnit val="days"/>
      </c:dateAx>
      <c:valAx>
        <c:axId val="51079750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6350">
            <a:solidFill>
              <a:sysClr val="windowText" lastClr="000000">
                <a:lumMod val="100000"/>
              </a:sysClr>
            </a:solidFill>
          </a:ln>
        </c:spPr>
        <c:txPr>
          <a:bodyPr/>
          <a:lstStyle/>
          <a:p>
            <a:pPr>
              <a:defRPr sz="800">
                <a:solidFill>
                  <a:srgbClr val="000000"/>
                </a:solidFill>
                <a:latin typeface="仿宋_GB2312"/>
                <a:ea typeface="仿宋_GB2312"/>
                <a:cs typeface="仿宋_GB2312"/>
              </a:defRPr>
            </a:pPr>
            <a:endParaRPr lang="zh-CN"/>
          </a:p>
        </c:txPr>
        <c:crossAx val="510796960"/>
        <c:crosses val="autoZero"/>
        <c:crossBetween val="between"/>
      </c:valAx>
      <c:spPr>
        <a:noFill/>
        <a:ln w="25400"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ln w="25400">
          <a:noFill/>
        </a:ln>
      </c:spPr>
      <c:txPr>
        <a:bodyPr/>
        <a:lstStyle/>
        <a:p>
          <a:pPr>
            <a:defRPr sz="800" baseline="0">
              <a:solidFill>
                <a:srgbClr val="000000"/>
              </a:solidFill>
              <a:latin typeface="仿宋_GB2312" panose="02010609030101010101" pitchFamily="49" charset="-122"/>
              <a:ea typeface="仿宋_GB2312" panose="02010609030101010101" pitchFamily="49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00">
          <a:latin typeface="仿宋_GB2312"/>
          <a:ea typeface="仿宋_GB2312"/>
          <a:cs typeface="仿宋_GB2312"/>
        </a:defRPr>
      </a:pPr>
      <a:endParaRPr lang="zh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7065296415412867E-2"/>
          <c:y val="5.5576873880787935E-2"/>
          <c:w val="0.87624881138321542"/>
          <c:h val="0.87372086816756822"/>
        </c:manualLayout>
      </c:layout>
      <c:lineChart>
        <c:grouping val="standard"/>
        <c:varyColors val="0"/>
        <c:ser>
          <c:idx val="0"/>
          <c:order val="0"/>
          <c:tx>
            <c:strRef>
              <c:f>'指数合成-1.0'!$DD$8</c:f>
              <c:strCache>
                <c:ptCount val="1"/>
                <c:pt idx="0">
                  <c:v>地产成交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373:$DC$444</c:f>
              <c:numCache>
                <c:formatCode>yyyy\-mm\-dd</c:formatCode>
                <c:ptCount val="72"/>
                <c:pt idx="0">
                  <c:v>45478</c:v>
                </c:pt>
                <c:pt idx="1">
                  <c:v>45485</c:v>
                </c:pt>
                <c:pt idx="2">
                  <c:v>45492</c:v>
                </c:pt>
                <c:pt idx="3">
                  <c:v>45499</c:v>
                </c:pt>
                <c:pt idx="4">
                  <c:v>45506</c:v>
                </c:pt>
                <c:pt idx="5">
                  <c:v>45513</c:v>
                </c:pt>
                <c:pt idx="6">
                  <c:v>45520</c:v>
                </c:pt>
                <c:pt idx="7">
                  <c:v>45527</c:v>
                </c:pt>
                <c:pt idx="8">
                  <c:v>45534</c:v>
                </c:pt>
                <c:pt idx="9">
                  <c:v>45541</c:v>
                </c:pt>
                <c:pt idx="10">
                  <c:v>45548</c:v>
                </c:pt>
                <c:pt idx="11">
                  <c:v>45555</c:v>
                </c:pt>
                <c:pt idx="12">
                  <c:v>45562</c:v>
                </c:pt>
                <c:pt idx="13">
                  <c:v>45569</c:v>
                </c:pt>
                <c:pt idx="14">
                  <c:v>45576</c:v>
                </c:pt>
                <c:pt idx="15">
                  <c:v>45583</c:v>
                </c:pt>
                <c:pt idx="16">
                  <c:v>45590</c:v>
                </c:pt>
                <c:pt idx="17">
                  <c:v>45597</c:v>
                </c:pt>
                <c:pt idx="18">
                  <c:v>45604</c:v>
                </c:pt>
                <c:pt idx="19">
                  <c:v>45611</c:v>
                </c:pt>
                <c:pt idx="20">
                  <c:v>45618</c:v>
                </c:pt>
                <c:pt idx="21">
                  <c:v>45625</c:v>
                </c:pt>
                <c:pt idx="22">
                  <c:v>45632</c:v>
                </c:pt>
                <c:pt idx="23">
                  <c:v>45639</c:v>
                </c:pt>
                <c:pt idx="24">
                  <c:v>45646</c:v>
                </c:pt>
                <c:pt idx="25">
                  <c:v>45653</c:v>
                </c:pt>
                <c:pt idx="26">
                  <c:v>45660</c:v>
                </c:pt>
                <c:pt idx="27">
                  <c:v>45667</c:v>
                </c:pt>
                <c:pt idx="28">
                  <c:v>45674</c:v>
                </c:pt>
                <c:pt idx="29">
                  <c:v>45681</c:v>
                </c:pt>
                <c:pt idx="30">
                  <c:v>45688</c:v>
                </c:pt>
                <c:pt idx="31">
                  <c:v>45695</c:v>
                </c:pt>
                <c:pt idx="32">
                  <c:v>45702</c:v>
                </c:pt>
                <c:pt idx="33">
                  <c:v>45709</c:v>
                </c:pt>
                <c:pt idx="34">
                  <c:v>45716</c:v>
                </c:pt>
                <c:pt idx="35">
                  <c:v>45723</c:v>
                </c:pt>
                <c:pt idx="36">
                  <c:v>45730</c:v>
                </c:pt>
                <c:pt idx="37">
                  <c:v>45737</c:v>
                </c:pt>
                <c:pt idx="38">
                  <c:v>45744</c:v>
                </c:pt>
                <c:pt idx="39">
                  <c:v>45751</c:v>
                </c:pt>
                <c:pt idx="40">
                  <c:v>45758</c:v>
                </c:pt>
                <c:pt idx="41">
                  <c:v>45765</c:v>
                </c:pt>
                <c:pt idx="42">
                  <c:v>45772</c:v>
                </c:pt>
                <c:pt idx="43">
                  <c:v>45779</c:v>
                </c:pt>
                <c:pt idx="44">
                  <c:v>45786</c:v>
                </c:pt>
                <c:pt idx="45">
                  <c:v>45793</c:v>
                </c:pt>
                <c:pt idx="46">
                  <c:v>45800</c:v>
                </c:pt>
                <c:pt idx="47">
                  <c:v>45807</c:v>
                </c:pt>
                <c:pt idx="48">
                  <c:v>45814</c:v>
                </c:pt>
                <c:pt idx="49">
                  <c:v>45821</c:v>
                </c:pt>
                <c:pt idx="50">
                  <c:v>45828</c:v>
                </c:pt>
                <c:pt idx="51">
                  <c:v>45835</c:v>
                </c:pt>
                <c:pt idx="52">
                  <c:v>45842</c:v>
                </c:pt>
                <c:pt idx="53">
                  <c:v>45849</c:v>
                </c:pt>
                <c:pt idx="54">
                  <c:v>45856</c:v>
                </c:pt>
                <c:pt idx="55">
                  <c:v>45863</c:v>
                </c:pt>
                <c:pt idx="56">
                  <c:v>45870</c:v>
                </c:pt>
                <c:pt idx="57">
                  <c:v>45877</c:v>
                </c:pt>
                <c:pt idx="58">
                  <c:v>45884</c:v>
                </c:pt>
                <c:pt idx="59">
                  <c:v>45891</c:v>
                </c:pt>
                <c:pt idx="60">
                  <c:v>45898</c:v>
                </c:pt>
                <c:pt idx="61">
                  <c:v>45905</c:v>
                </c:pt>
                <c:pt idx="62">
                  <c:v>45912</c:v>
                </c:pt>
                <c:pt idx="63">
                  <c:v>45919</c:v>
                </c:pt>
                <c:pt idx="64">
                  <c:v>45926</c:v>
                </c:pt>
                <c:pt idx="65">
                  <c:v>45933</c:v>
                </c:pt>
                <c:pt idx="66">
                  <c:v>45940</c:v>
                </c:pt>
                <c:pt idx="67">
                  <c:v>45947</c:v>
                </c:pt>
                <c:pt idx="68">
                  <c:v>45954</c:v>
                </c:pt>
                <c:pt idx="69">
                  <c:v>45961</c:v>
                </c:pt>
                <c:pt idx="70">
                  <c:v>45968</c:v>
                </c:pt>
                <c:pt idx="71">
                  <c:v>45975</c:v>
                </c:pt>
              </c:numCache>
            </c:numRef>
          </c:cat>
          <c:val>
            <c:numRef>
              <c:f>'指数合成-1.0'!$DD$373:$DD$444</c:f>
              <c:numCache>
                <c:formatCode>0.0</c:formatCode>
                <c:ptCount val="72"/>
                <c:pt idx="0">
                  <c:v>-23.783370175605128</c:v>
                </c:pt>
                <c:pt idx="1">
                  <c:v>-12.580744787996707</c:v>
                </c:pt>
                <c:pt idx="2">
                  <c:v>-9.6843852923278604</c:v>
                </c:pt>
                <c:pt idx="3">
                  <c:v>-15.440990623671354</c:v>
                </c:pt>
                <c:pt idx="4">
                  <c:v>-7.7090888818399179</c:v>
                </c:pt>
                <c:pt idx="5">
                  <c:v>-23.678356965470556</c:v>
                </c:pt>
                <c:pt idx="6">
                  <c:v>-10.55223061761717</c:v>
                </c:pt>
                <c:pt idx="7">
                  <c:v>-3.232586945269091</c:v>
                </c:pt>
                <c:pt idx="8">
                  <c:v>-17.972619027877755</c:v>
                </c:pt>
                <c:pt idx="9">
                  <c:v>-32.722925062505894</c:v>
                </c:pt>
                <c:pt idx="10">
                  <c:v>-14.431439866375811</c:v>
                </c:pt>
                <c:pt idx="11">
                  <c:v>-25.387032448851016</c:v>
                </c:pt>
                <c:pt idx="12">
                  <c:v>-18.928503033164134</c:v>
                </c:pt>
                <c:pt idx="13">
                  <c:v>-36.242096048626294</c:v>
                </c:pt>
                <c:pt idx="14">
                  <c:v>39.615341698389386</c:v>
                </c:pt>
                <c:pt idx="15">
                  <c:v>4.94663317703899</c:v>
                </c:pt>
                <c:pt idx="16">
                  <c:v>-4.4592871063705246</c:v>
                </c:pt>
                <c:pt idx="17">
                  <c:v>10.805890242681542</c:v>
                </c:pt>
                <c:pt idx="18">
                  <c:v>-13.193093523786402</c:v>
                </c:pt>
                <c:pt idx="19">
                  <c:v>12.812470226159164</c:v>
                </c:pt>
                <c:pt idx="20">
                  <c:v>15.707918764374185</c:v>
                </c:pt>
                <c:pt idx="21">
                  <c:v>29.340832952936324</c:v>
                </c:pt>
                <c:pt idx="22">
                  <c:v>8.038944628218303</c:v>
                </c:pt>
                <c:pt idx="23">
                  <c:v>24.393506315424318</c:v>
                </c:pt>
                <c:pt idx="24">
                  <c:v>18.704309986629355</c:v>
                </c:pt>
                <c:pt idx="25">
                  <c:v>23.719499812689548</c:v>
                </c:pt>
                <c:pt idx="26">
                  <c:v>42.435190197501868</c:v>
                </c:pt>
                <c:pt idx="27">
                  <c:v>2.8516170939245171</c:v>
                </c:pt>
                <c:pt idx="28">
                  <c:v>2.4331475546090218</c:v>
                </c:pt>
                <c:pt idx="29">
                  <c:v>1.5153096213759198</c:v>
                </c:pt>
                <c:pt idx="30">
                  <c:v>-48.630918332879205</c:v>
                </c:pt>
                <c:pt idx="31">
                  <c:v>-29.425593226048122</c:v>
                </c:pt>
                <c:pt idx="32">
                  <c:v>92.951668600343936</c:v>
                </c:pt>
                <c:pt idx="33">
                  <c:v>33.413140048092572</c:v>
                </c:pt>
                <c:pt idx="34">
                  <c:v>21.658263110331077</c:v>
                </c:pt>
                <c:pt idx="35">
                  <c:v>10.09907533686976</c:v>
                </c:pt>
                <c:pt idx="36">
                  <c:v>4.2352200583132316</c:v>
                </c:pt>
                <c:pt idx="37">
                  <c:v>-1.5489954638718615</c:v>
                </c:pt>
                <c:pt idx="38">
                  <c:v>-10.036988336150188</c:v>
                </c:pt>
                <c:pt idx="39">
                  <c:v>15.591970836318978</c:v>
                </c:pt>
                <c:pt idx="40">
                  <c:v>-15.092480984875706</c:v>
                </c:pt>
                <c:pt idx="41">
                  <c:v>-10.811647442137854</c:v>
                </c:pt>
                <c:pt idx="42">
                  <c:v>-13.573227769354929</c:v>
                </c:pt>
                <c:pt idx="43">
                  <c:v>11.603773056631454</c:v>
                </c:pt>
                <c:pt idx="44">
                  <c:v>-4.6242062161653905</c:v>
                </c:pt>
                <c:pt idx="45">
                  <c:v>-5.6820318746645455</c:v>
                </c:pt>
                <c:pt idx="46">
                  <c:v>-1.9888235640862462</c:v>
                </c:pt>
                <c:pt idx="47">
                  <c:v>-3.8611315280151359</c:v>
                </c:pt>
                <c:pt idx="48">
                  <c:v>-9.0731233211955242</c:v>
                </c:pt>
                <c:pt idx="49">
                  <c:v>3.6618512287851672</c:v>
                </c:pt>
                <c:pt idx="50">
                  <c:v>-7.3363163987534676</c:v>
                </c:pt>
                <c:pt idx="51">
                  <c:v>-11.762319184465127</c:v>
                </c:pt>
                <c:pt idx="52">
                  <c:v>-6.0136972888928</c:v>
                </c:pt>
                <c:pt idx="53">
                  <c:v>-11.270743368299378</c:v>
                </c:pt>
                <c:pt idx="54">
                  <c:v>-14.968291489057592</c:v>
                </c:pt>
                <c:pt idx="55">
                  <c:v>-4.875914972208264</c:v>
                </c:pt>
                <c:pt idx="56">
                  <c:v>-10.878481173936891</c:v>
                </c:pt>
                <c:pt idx="57">
                  <c:v>-7.1000461701303408</c:v>
                </c:pt>
                <c:pt idx="58">
                  <c:v>-5.2207861376072771</c:v>
                </c:pt>
                <c:pt idx="59">
                  <c:v>-9.3885381644860217</c:v>
                </c:pt>
                <c:pt idx="60">
                  <c:v>1.4712377693913936</c:v>
                </c:pt>
                <c:pt idx="61">
                  <c:v>4.3847692622776435</c:v>
                </c:pt>
                <c:pt idx="62">
                  <c:v>4.2776862673566285</c:v>
                </c:pt>
                <c:pt idx="63">
                  <c:v>13.526995996527418</c:v>
                </c:pt>
                <c:pt idx="64">
                  <c:v>-2.9826651418429577</c:v>
                </c:pt>
                <c:pt idx="65">
                  <c:v>5.0860666117881266</c:v>
                </c:pt>
                <c:pt idx="66">
                  <c:v>-26.625906371232986</c:v>
                </c:pt>
                <c:pt idx="67">
                  <c:v>-14.5236723886525</c:v>
                </c:pt>
                <c:pt idx="68">
                  <c:v>-14.106791044290276</c:v>
                </c:pt>
                <c:pt idx="69">
                  <c:v>-26.066502288826797</c:v>
                </c:pt>
                <c:pt idx="70">
                  <c:v>-28.927413655606998</c:v>
                </c:pt>
                <c:pt idx="71">
                  <c:v>-17.87627303026909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F8D1-4D85-9288-16991D4C6C65}"/>
            </c:ext>
          </c:extLst>
        </c:ser>
        <c:ser>
          <c:idx val="4"/>
          <c:order val="1"/>
          <c:tx>
            <c:strRef>
              <c:f>'指数合成-1.0'!$DH$8</c:f>
              <c:strCache>
                <c:ptCount val="1"/>
                <c:pt idx="0">
                  <c:v>消费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373:$DC$444</c:f>
              <c:numCache>
                <c:formatCode>yyyy\-mm\-dd</c:formatCode>
                <c:ptCount val="72"/>
                <c:pt idx="0">
                  <c:v>45478</c:v>
                </c:pt>
                <c:pt idx="1">
                  <c:v>45485</c:v>
                </c:pt>
                <c:pt idx="2">
                  <c:v>45492</c:v>
                </c:pt>
                <c:pt idx="3">
                  <c:v>45499</c:v>
                </c:pt>
                <c:pt idx="4">
                  <c:v>45506</c:v>
                </c:pt>
                <c:pt idx="5">
                  <c:v>45513</c:v>
                </c:pt>
                <c:pt idx="6">
                  <c:v>45520</c:v>
                </c:pt>
                <c:pt idx="7">
                  <c:v>45527</c:v>
                </c:pt>
                <c:pt idx="8">
                  <c:v>45534</c:v>
                </c:pt>
                <c:pt idx="9">
                  <c:v>45541</c:v>
                </c:pt>
                <c:pt idx="10">
                  <c:v>45548</c:v>
                </c:pt>
                <c:pt idx="11">
                  <c:v>45555</c:v>
                </c:pt>
                <c:pt idx="12">
                  <c:v>45562</c:v>
                </c:pt>
                <c:pt idx="13">
                  <c:v>45569</c:v>
                </c:pt>
                <c:pt idx="14">
                  <c:v>45576</c:v>
                </c:pt>
                <c:pt idx="15">
                  <c:v>45583</c:v>
                </c:pt>
                <c:pt idx="16">
                  <c:v>45590</c:v>
                </c:pt>
                <c:pt idx="17">
                  <c:v>45597</c:v>
                </c:pt>
                <c:pt idx="18">
                  <c:v>45604</c:v>
                </c:pt>
                <c:pt idx="19">
                  <c:v>45611</c:v>
                </c:pt>
                <c:pt idx="20">
                  <c:v>45618</c:v>
                </c:pt>
                <c:pt idx="21">
                  <c:v>45625</c:v>
                </c:pt>
                <c:pt idx="22">
                  <c:v>45632</c:v>
                </c:pt>
                <c:pt idx="23">
                  <c:v>45639</c:v>
                </c:pt>
                <c:pt idx="24">
                  <c:v>45646</c:v>
                </c:pt>
                <c:pt idx="25">
                  <c:v>45653</c:v>
                </c:pt>
                <c:pt idx="26">
                  <c:v>45660</c:v>
                </c:pt>
                <c:pt idx="27">
                  <c:v>45667</c:v>
                </c:pt>
                <c:pt idx="28">
                  <c:v>45674</c:v>
                </c:pt>
                <c:pt idx="29">
                  <c:v>45681</c:v>
                </c:pt>
                <c:pt idx="30">
                  <c:v>45688</c:v>
                </c:pt>
                <c:pt idx="31">
                  <c:v>45695</c:v>
                </c:pt>
                <c:pt idx="32">
                  <c:v>45702</c:v>
                </c:pt>
                <c:pt idx="33">
                  <c:v>45709</c:v>
                </c:pt>
                <c:pt idx="34">
                  <c:v>45716</c:v>
                </c:pt>
                <c:pt idx="35">
                  <c:v>45723</c:v>
                </c:pt>
                <c:pt idx="36">
                  <c:v>45730</c:v>
                </c:pt>
                <c:pt idx="37">
                  <c:v>45737</c:v>
                </c:pt>
                <c:pt idx="38">
                  <c:v>45744</c:v>
                </c:pt>
                <c:pt idx="39">
                  <c:v>45751</c:v>
                </c:pt>
                <c:pt idx="40">
                  <c:v>45758</c:v>
                </c:pt>
                <c:pt idx="41">
                  <c:v>45765</c:v>
                </c:pt>
                <c:pt idx="42">
                  <c:v>45772</c:v>
                </c:pt>
                <c:pt idx="43">
                  <c:v>45779</c:v>
                </c:pt>
                <c:pt idx="44">
                  <c:v>45786</c:v>
                </c:pt>
                <c:pt idx="45">
                  <c:v>45793</c:v>
                </c:pt>
                <c:pt idx="46">
                  <c:v>45800</c:v>
                </c:pt>
                <c:pt idx="47">
                  <c:v>45807</c:v>
                </c:pt>
                <c:pt idx="48">
                  <c:v>45814</c:v>
                </c:pt>
                <c:pt idx="49">
                  <c:v>45821</c:v>
                </c:pt>
                <c:pt idx="50">
                  <c:v>45828</c:v>
                </c:pt>
                <c:pt idx="51">
                  <c:v>45835</c:v>
                </c:pt>
                <c:pt idx="52">
                  <c:v>45842</c:v>
                </c:pt>
                <c:pt idx="53">
                  <c:v>45849</c:v>
                </c:pt>
                <c:pt idx="54">
                  <c:v>45856</c:v>
                </c:pt>
                <c:pt idx="55">
                  <c:v>45863</c:v>
                </c:pt>
                <c:pt idx="56">
                  <c:v>45870</c:v>
                </c:pt>
                <c:pt idx="57">
                  <c:v>45877</c:v>
                </c:pt>
                <c:pt idx="58">
                  <c:v>45884</c:v>
                </c:pt>
                <c:pt idx="59">
                  <c:v>45891</c:v>
                </c:pt>
                <c:pt idx="60">
                  <c:v>45898</c:v>
                </c:pt>
                <c:pt idx="61">
                  <c:v>45905</c:v>
                </c:pt>
                <c:pt idx="62">
                  <c:v>45912</c:v>
                </c:pt>
                <c:pt idx="63">
                  <c:v>45919</c:v>
                </c:pt>
                <c:pt idx="64">
                  <c:v>45926</c:v>
                </c:pt>
                <c:pt idx="65">
                  <c:v>45933</c:v>
                </c:pt>
                <c:pt idx="66">
                  <c:v>45940</c:v>
                </c:pt>
                <c:pt idx="67">
                  <c:v>45947</c:v>
                </c:pt>
                <c:pt idx="68">
                  <c:v>45954</c:v>
                </c:pt>
                <c:pt idx="69">
                  <c:v>45961</c:v>
                </c:pt>
                <c:pt idx="70">
                  <c:v>45968</c:v>
                </c:pt>
                <c:pt idx="71">
                  <c:v>45975</c:v>
                </c:pt>
              </c:numCache>
            </c:numRef>
          </c:cat>
          <c:val>
            <c:numRef>
              <c:f>'指数合成-1.0'!$DH$373:$DH$444</c:f>
              <c:numCache>
                <c:formatCode>0.0</c:formatCode>
                <c:ptCount val="72"/>
                <c:pt idx="0">
                  <c:v>-19.985238298398727</c:v>
                </c:pt>
                <c:pt idx="1">
                  <c:v>-11.20179444145144</c:v>
                </c:pt>
                <c:pt idx="2">
                  <c:v>-3.6627361311285824</c:v>
                </c:pt>
                <c:pt idx="3">
                  <c:v>1.2257957373186912</c:v>
                </c:pt>
                <c:pt idx="4">
                  <c:v>-0.46849347036788913</c:v>
                </c:pt>
                <c:pt idx="5">
                  <c:v>-5.9582611858508585</c:v>
                </c:pt>
                <c:pt idx="6">
                  <c:v>-13.298464062338184</c:v>
                </c:pt>
                <c:pt idx="7">
                  <c:v>-4.1734907588279668</c:v>
                </c:pt>
                <c:pt idx="8">
                  <c:v>1.4676922745335617</c:v>
                </c:pt>
                <c:pt idx="9">
                  <c:v>-13.263722123895164</c:v>
                </c:pt>
                <c:pt idx="10">
                  <c:v>10.82268505184463</c:v>
                </c:pt>
                <c:pt idx="11">
                  <c:v>5.8639203041242354</c:v>
                </c:pt>
                <c:pt idx="12">
                  <c:v>10.099789687643536</c:v>
                </c:pt>
                <c:pt idx="13">
                  <c:v>-2.7434118907619336</c:v>
                </c:pt>
                <c:pt idx="14">
                  <c:v>-4.5807495194593315</c:v>
                </c:pt>
                <c:pt idx="15">
                  <c:v>6.4749242190427054</c:v>
                </c:pt>
                <c:pt idx="16">
                  <c:v>0.77325766116432249</c:v>
                </c:pt>
                <c:pt idx="17">
                  <c:v>11.562267286180614</c:v>
                </c:pt>
                <c:pt idx="18">
                  <c:v>1.0621116285790748</c:v>
                </c:pt>
                <c:pt idx="19">
                  <c:v>6.5268983260631614</c:v>
                </c:pt>
                <c:pt idx="20">
                  <c:v>2.255863992192559</c:v>
                </c:pt>
                <c:pt idx="21">
                  <c:v>17.340143500380137</c:v>
                </c:pt>
                <c:pt idx="22">
                  <c:v>-16.510146975623712</c:v>
                </c:pt>
                <c:pt idx="23">
                  <c:v>3.1593199006999981</c:v>
                </c:pt>
                <c:pt idx="24">
                  <c:v>3.7952341760705508</c:v>
                </c:pt>
                <c:pt idx="25">
                  <c:v>2.4706679348405487</c:v>
                </c:pt>
                <c:pt idx="26">
                  <c:v>-1.9430068489846235</c:v>
                </c:pt>
                <c:pt idx="27">
                  <c:v>-0.95040275421976617</c:v>
                </c:pt>
                <c:pt idx="28">
                  <c:v>1.5237124405746556</c:v>
                </c:pt>
                <c:pt idx="29">
                  <c:v>-7.7027682620674511</c:v>
                </c:pt>
                <c:pt idx="30">
                  <c:v>14.947905863308335</c:v>
                </c:pt>
                <c:pt idx="31">
                  <c:v>88.039790758703816</c:v>
                </c:pt>
                <c:pt idx="32">
                  <c:v>3.7819458826489694</c:v>
                </c:pt>
                <c:pt idx="33">
                  <c:v>23.874755964733296</c:v>
                </c:pt>
                <c:pt idx="34">
                  <c:v>9.7271401895208811</c:v>
                </c:pt>
                <c:pt idx="35">
                  <c:v>2.7453740959698507</c:v>
                </c:pt>
                <c:pt idx="36">
                  <c:v>5.910464108036777</c:v>
                </c:pt>
                <c:pt idx="37">
                  <c:v>0.40700592848168071</c:v>
                </c:pt>
                <c:pt idx="38">
                  <c:v>-0.25372382419260475</c:v>
                </c:pt>
                <c:pt idx="39">
                  <c:v>1.9007107218275365</c:v>
                </c:pt>
                <c:pt idx="40">
                  <c:v>7.0827368901828578</c:v>
                </c:pt>
                <c:pt idx="41">
                  <c:v>3.4409543086338203</c:v>
                </c:pt>
                <c:pt idx="42">
                  <c:v>-3.9478287856428267</c:v>
                </c:pt>
                <c:pt idx="43">
                  <c:v>-2.0910189675051924</c:v>
                </c:pt>
                <c:pt idx="44">
                  <c:v>5.7423359741918745</c:v>
                </c:pt>
                <c:pt idx="45">
                  <c:v>12.682530478247187</c:v>
                </c:pt>
                <c:pt idx="46">
                  <c:v>9.2706650466634244</c:v>
                </c:pt>
                <c:pt idx="47">
                  <c:v>4.8453935014586875</c:v>
                </c:pt>
                <c:pt idx="48">
                  <c:v>12.482608512852394</c:v>
                </c:pt>
                <c:pt idx="49">
                  <c:v>3.9320942470679938</c:v>
                </c:pt>
                <c:pt idx="50">
                  <c:v>13.837819774088004</c:v>
                </c:pt>
                <c:pt idx="51">
                  <c:v>6.5139516790800371</c:v>
                </c:pt>
                <c:pt idx="52">
                  <c:v>6.8571654131856832</c:v>
                </c:pt>
                <c:pt idx="53">
                  <c:v>5.1706612038807407</c:v>
                </c:pt>
                <c:pt idx="54">
                  <c:v>-0.86277201101681555</c:v>
                </c:pt>
                <c:pt idx="55">
                  <c:v>-1.8127096798946667</c:v>
                </c:pt>
                <c:pt idx="56">
                  <c:v>4.3013991333393591</c:v>
                </c:pt>
                <c:pt idx="57">
                  <c:v>6.9592540322955188</c:v>
                </c:pt>
                <c:pt idx="58">
                  <c:v>9.9990614666819653</c:v>
                </c:pt>
                <c:pt idx="59">
                  <c:v>3.9519923024944603</c:v>
                </c:pt>
                <c:pt idx="60">
                  <c:v>2.8541104466981437</c:v>
                </c:pt>
                <c:pt idx="61">
                  <c:v>1.8594612866829436</c:v>
                </c:pt>
                <c:pt idx="62">
                  <c:v>-9.1245512697831828</c:v>
                </c:pt>
                <c:pt idx="63">
                  <c:v>-3.7470512098650772</c:v>
                </c:pt>
                <c:pt idx="64">
                  <c:v>-7.0073225566855655</c:v>
                </c:pt>
                <c:pt idx="65">
                  <c:v>2.0424065933558637</c:v>
                </c:pt>
                <c:pt idx="66">
                  <c:v>-8.2853855289973524</c:v>
                </c:pt>
                <c:pt idx="67">
                  <c:v>-4.8237460054670294</c:v>
                </c:pt>
                <c:pt idx="68">
                  <c:v>-3.6475941981431959</c:v>
                </c:pt>
                <c:pt idx="69">
                  <c:v>5.1103956423703067</c:v>
                </c:pt>
                <c:pt idx="70">
                  <c:v>-2.3078641917864502</c:v>
                </c:pt>
                <c:pt idx="71">
                  <c:v>1.756386948531599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F8D1-4D85-9288-16991D4C6C65}"/>
            </c:ext>
          </c:extLst>
        </c:ser>
        <c:ser>
          <c:idx val="5"/>
          <c:order val="2"/>
          <c:tx>
            <c:strRef>
              <c:f>'指数合成-1.0'!$DI$8</c:f>
              <c:strCache>
                <c:ptCount val="1"/>
                <c:pt idx="0">
                  <c:v>投资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373:$DC$444</c:f>
              <c:numCache>
                <c:formatCode>yyyy\-mm\-dd</c:formatCode>
                <c:ptCount val="72"/>
                <c:pt idx="0">
                  <c:v>45478</c:v>
                </c:pt>
                <c:pt idx="1">
                  <c:v>45485</c:v>
                </c:pt>
                <c:pt idx="2">
                  <c:v>45492</c:v>
                </c:pt>
                <c:pt idx="3">
                  <c:v>45499</c:v>
                </c:pt>
                <c:pt idx="4">
                  <c:v>45506</c:v>
                </c:pt>
                <c:pt idx="5">
                  <c:v>45513</c:v>
                </c:pt>
                <c:pt idx="6">
                  <c:v>45520</c:v>
                </c:pt>
                <c:pt idx="7">
                  <c:v>45527</c:v>
                </c:pt>
                <c:pt idx="8">
                  <c:v>45534</c:v>
                </c:pt>
                <c:pt idx="9">
                  <c:v>45541</c:v>
                </c:pt>
                <c:pt idx="10">
                  <c:v>45548</c:v>
                </c:pt>
                <c:pt idx="11">
                  <c:v>45555</c:v>
                </c:pt>
                <c:pt idx="12">
                  <c:v>45562</c:v>
                </c:pt>
                <c:pt idx="13">
                  <c:v>45569</c:v>
                </c:pt>
                <c:pt idx="14">
                  <c:v>45576</c:v>
                </c:pt>
                <c:pt idx="15">
                  <c:v>45583</c:v>
                </c:pt>
                <c:pt idx="16">
                  <c:v>45590</c:v>
                </c:pt>
                <c:pt idx="17">
                  <c:v>45597</c:v>
                </c:pt>
                <c:pt idx="18">
                  <c:v>45604</c:v>
                </c:pt>
                <c:pt idx="19">
                  <c:v>45611</c:v>
                </c:pt>
                <c:pt idx="20">
                  <c:v>45618</c:v>
                </c:pt>
                <c:pt idx="21">
                  <c:v>45625</c:v>
                </c:pt>
                <c:pt idx="22">
                  <c:v>45632</c:v>
                </c:pt>
                <c:pt idx="23">
                  <c:v>45639</c:v>
                </c:pt>
                <c:pt idx="24">
                  <c:v>45646</c:v>
                </c:pt>
                <c:pt idx="25">
                  <c:v>45653</c:v>
                </c:pt>
                <c:pt idx="26">
                  <c:v>45660</c:v>
                </c:pt>
                <c:pt idx="27">
                  <c:v>45667</c:v>
                </c:pt>
                <c:pt idx="28">
                  <c:v>45674</c:v>
                </c:pt>
                <c:pt idx="29">
                  <c:v>45681</c:v>
                </c:pt>
                <c:pt idx="30">
                  <c:v>45688</c:v>
                </c:pt>
                <c:pt idx="31">
                  <c:v>45695</c:v>
                </c:pt>
                <c:pt idx="32">
                  <c:v>45702</c:v>
                </c:pt>
                <c:pt idx="33">
                  <c:v>45709</c:v>
                </c:pt>
                <c:pt idx="34">
                  <c:v>45716</c:v>
                </c:pt>
                <c:pt idx="35">
                  <c:v>45723</c:v>
                </c:pt>
                <c:pt idx="36">
                  <c:v>45730</c:v>
                </c:pt>
                <c:pt idx="37">
                  <c:v>45737</c:v>
                </c:pt>
                <c:pt idx="38">
                  <c:v>45744</c:v>
                </c:pt>
                <c:pt idx="39">
                  <c:v>45751</c:v>
                </c:pt>
                <c:pt idx="40">
                  <c:v>45758</c:v>
                </c:pt>
                <c:pt idx="41">
                  <c:v>45765</c:v>
                </c:pt>
                <c:pt idx="42">
                  <c:v>45772</c:v>
                </c:pt>
                <c:pt idx="43">
                  <c:v>45779</c:v>
                </c:pt>
                <c:pt idx="44">
                  <c:v>45786</c:v>
                </c:pt>
                <c:pt idx="45">
                  <c:v>45793</c:v>
                </c:pt>
                <c:pt idx="46">
                  <c:v>45800</c:v>
                </c:pt>
                <c:pt idx="47">
                  <c:v>45807</c:v>
                </c:pt>
                <c:pt idx="48">
                  <c:v>45814</c:v>
                </c:pt>
                <c:pt idx="49">
                  <c:v>45821</c:v>
                </c:pt>
                <c:pt idx="50">
                  <c:v>45828</c:v>
                </c:pt>
                <c:pt idx="51">
                  <c:v>45835</c:v>
                </c:pt>
                <c:pt idx="52">
                  <c:v>45842</c:v>
                </c:pt>
                <c:pt idx="53">
                  <c:v>45849</c:v>
                </c:pt>
                <c:pt idx="54">
                  <c:v>45856</c:v>
                </c:pt>
                <c:pt idx="55">
                  <c:v>45863</c:v>
                </c:pt>
                <c:pt idx="56">
                  <c:v>45870</c:v>
                </c:pt>
                <c:pt idx="57">
                  <c:v>45877</c:v>
                </c:pt>
                <c:pt idx="58">
                  <c:v>45884</c:v>
                </c:pt>
                <c:pt idx="59">
                  <c:v>45891</c:v>
                </c:pt>
                <c:pt idx="60">
                  <c:v>45898</c:v>
                </c:pt>
                <c:pt idx="61">
                  <c:v>45905</c:v>
                </c:pt>
                <c:pt idx="62">
                  <c:v>45912</c:v>
                </c:pt>
                <c:pt idx="63">
                  <c:v>45919</c:v>
                </c:pt>
                <c:pt idx="64">
                  <c:v>45926</c:v>
                </c:pt>
                <c:pt idx="65">
                  <c:v>45933</c:v>
                </c:pt>
                <c:pt idx="66">
                  <c:v>45940</c:v>
                </c:pt>
                <c:pt idx="67">
                  <c:v>45947</c:v>
                </c:pt>
                <c:pt idx="68">
                  <c:v>45954</c:v>
                </c:pt>
                <c:pt idx="69">
                  <c:v>45961</c:v>
                </c:pt>
                <c:pt idx="70">
                  <c:v>45968</c:v>
                </c:pt>
                <c:pt idx="71">
                  <c:v>45975</c:v>
                </c:pt>
              </c:numCache>
            </c:numRef>
          </c:cat>
          <c:val>
            <c:numRef>
              <c:f>'指数合成-1.0'!$DI$373:$DI$444</c:f>
              <c:numCache>
                <c:formatCode>0.0</c:formatCode>
                <c:ptCount val="72"/>
                <c:pt idx="0">
                  <c:v>-14.0423757712407</c:v>
                </c:pt>
                <c:pt idx="1">
                  <c:v>-19.61850246016769</c:v>
                </c:pt>
                <c:pt idx="2">
                  <c:v>-20.61868474865399</c:v>
                </c:pt>
                <c:pt idx="3">
                  <c:v>-21.709589165906024</c:v>
                </c:pt>
                <c:pt idx="4">
                  <c:v>-25.555483052944311</c:v>
                </c:pt>
                <c:pt idx="5">
                  <c:v>-27.347466145726415</c:v>
                </c:pt>
                <c:pt idx="6">
                  <c:v>-29.270706411218484</c:v>
                </c:pt>
                <c:pt idx="7">
                  <c:v>-32.003145755046475</c:v>
                </c:pt>
                <c:pt idx="8">
                  <c:v>-26.52727109762904</c:v>
                </c:pt>
                <c:pt idx="9">
                  <c:v>-28.059353142639893</c:v>
                </c:pt>
                <c:pt idx="10">
                  <c:v>-29.684663701331473</c:v>
                </c:pt>
                <c:pt idx="11">
                  <c:v>-30.212451434901908</c:v>
                </c:pt>
                <c:pt idx="12">
                  <c:v>-22.979973764413842</c:v>
                </c:pt>
                <c:pt idx="13">
                  <c:v>-29.225867253725781</c:v>
                </c:pt>
                <c:pt idx="14">
                  <c:v>-6.0048585589761103</c:v>
                </c:pt>
                <c:pt idx="15">
                  <c:v>-13.974888908409127</c:v>
                </c:pt>
                <c:pt idx="16">
                  <c:v>-17.132541123060989</c:v>
                </c:pt>
                <c:pt idx="17">
                  <c:v>-19.255828366514933</c:v>
                </c:pt>
                <c:pt idx="18">
                  <c:v>-20.477963913207901</c:v>
                </c:pt>
                <c:pt idx="19">
                  <c:v>-13.274001007540846</c:v>
                </c:pt>
                <c:pt idx="20">
                  <c:v>-8.5505640858125389</c:v>
                </c:pt>
                <c:pt idx="21">
                  <c:v>-13.926229754089988</c:v>
                </c:pt>
                <c:pt idx="22">
                  <c:v>-15.134776721066117</c:v>
                </c:pt>
                <c:pt idx="23">
                  <c:v>-12.855759982012032</c:v>
                </c:pt>
                <c:pt idx="24">
                  <c:v>-5.899433743861664</c:v>
                </c:pt>
                <c:pt idx="25">
                  <c:v>-3.3814782889902233</c:v>
                </c:pt>
                <c:pt idx="26">
                  <c:v>-4.4586165634039645</c:v>
                </c:pt>
                <c:pt idx="27">
                  <c:v>-9.9968477282346413</c:v>
                </c:pt>
                <c:pt idx="28">
                  <c:v>-7.380918199707466</c:v>
                </c:pt>
                <c:pt idx="29">
                  <c:v>-36.259114293350628</c:v>
                </c:pt>
                <c:pt idx="30">
                  <c:v>-58.65368675746425</c:v>
                </c:pt>
                <c:pt idx="31">
                  <c:v>-6.1891402373897932</c:v>
                </c:pt>
                <c:pt idx="32">
                  <c:v>503.85403993597231</c:v>
                </c:pt>
                <c:pt idx="33">
                  <c:v>82.307971409291525</c:v>
                </c:pt>
                <c:pt idx="34">
                  <c:v>24.312562673551867</c:v>
                </c:pt>
                <c:pt idx="35">
                  <c:v>9.7260012397950106</c:v>
                </c:pt>
                <c:pt idx="36">
                  <c:v>1.0617948684120506</c:v>
                </c:pt>
                <c:pt idx="37">
                  <c:v>-7.3096173333380534</c:v>
                </c:pt>
                <c:pt idx="38">
                  <c:v>-8.1999847321175849</c:v>
                </c:pt>
                <c:pt idx="39">
                  <c:v>-4.8731661481906485</c:v>
                </c:pt>
                <c:pt idx="40">
                  <c:v>-6.3640460141102864</c:v>
                </c:pt>
                <c:pt idx="41">
                  <c:v>-2.1361190718132974</c:v>
                </c:pt>
                <c:pt idx="42">
                  <c:v>2.7792580842885855</c:v>
                </c:pt>
                <c:pt idx="43">
                  <c:v>8.0564814088997565</c:v>
                </c:pt>
                <c:pt idx="44">
                  <c:v>-4.9685969434172819</c:v>
                </c:pt>
                <c:pt idx="45">
                  <c:v>0.85628194222718435</c:v>
                </c:pt>
                <c:pt idx="46">
                  <c:v>-3.0497274592894996</c:v>
                </c:pt>
                <c:pt idx="47">
                  <c:v>-0.88019381035209676</c:v>
                </c:pt>
                <c:pt idx="48">
                  <c:v>7.7927119503910376</c:v>
                </c:pt>
                <c:pt idx="49">
                  <c:v>14.974852445062098</c:v>
                </c:pt>
                <c:pt idx="50">
                  <c:v>12.469521510283883</c:v>
                </c:pt>
                <c:pt idx="51">
                  <c:v>6.4804196192094849</c:v>
                </c:pt>
                <c:pt idx="52">
                  <c:v>6.5521614823547338</c:v>
                </c:pt>
                <c:pt idx="53">
                  <c:v>10.758769759289905</c:v>
                </c:pt>
                <c:pt idx="54">
                  <c:v>13.10103875249537</c:v>
                </c:pt>
                <c:pt idx="55">
                  <c:v>9.6041047387451783</c:v>
                </c:pt>
                <c:pt idx="56">
                  <c:v>12.106460808696951</c:v>
                </c:pt>
                <c:pt idx="57">
                  <c:v>14.941866154565147</c:v>
                </c:pt>
                <c:pt idx="58">
                  <c:v>11.976541624342445</c:v>
                </c:pt>
                <c:pt idx="59">
                  <c:v>11.409733458981933</c:v>
                </c:pt>
                <c:pt idx="60">
                  <c:v>1.0880222041507892</c:v>
                </c:pt>
                <c:pt idx="61">
                  <c:v>-0.97997534228181848</c:v>
                </c:pt>
                <c:pt idx="62">
                  <c:v>9.2376583000869346</c:v>
                </c:pt>
                <c:pt idx="63">
                  <c:v>16.232674058105331</c:v>
                </c:pt>
                <c:pt idx="64">
                  <c:v>14.984826449185107</c:v>
                </c:pt>
                <c:pt idx="65">
                  <c:v>16.497265402772925</c:v>
                </c:pt>
                <c:pt idx="66">
                  <c:v>-4.4180024103777811</c:v>
                </c:pt>
                <c:pt idx="67">
                  <c:v>2.8757737392152194</c:v>
                </c:pt>
                <c:pt idx="68">
                  <c:v>-1.3107225853600539</c:v>
                </c:pt>
                <c:pt idx="69">
                  <c:v>1.5635550047778111</c:v>
                </c:pt>
                <c:pt idx="70">
                  <c:v>3.0660213191640224</c:v>
                </c:pt>
                <c:pt idx="71">
                  <c:v>-2.6571224275260477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F8D1-4D85-9288-16991D4C6C65}"/>
            </c:ext>
          </c:extLst>
        </c:ser>
        <c:ser>
          <c:idx val="6"/>
          <c:order val="3"/>
          <c:tx>
            <c:strRef>
              <c:f>'指数合成-1.0'!$DJ$8</c:f>
              <c:strCache>
                <c:ptCount val="1"/>
                <c:pt idx="0">
                  <c:v>出口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指数合成-1.0'!$DC$373:$DC$444</c:f>
              <c:numCache>
                <c:formatCode>yyyy\-mm\-dd</c:formatCode>
                <c:ptCount val="72"/>
                <c:pt idx="0">
                  <c:v>45478</c:v>
                </c:pt>
                <c:pt idx="1">
                  <c:v>45485</c:v>
                </c:pt>
                <c:pt idx="2">
                  <c:v>45492</c:v>
                </c:pt>
                <c:pt idx="3">
                  <c:v>45499</c:v>
                </c:pt>
                <c:pt idx="4">
                  <c:v>45506</c:v>
                </c:pt>
                <c:pt idx="5">
                  <c:v>45513</c:v>
                </c:pt>
                <c:pt idx="6">
                  <c:v>45520</c:v>
                </c:pt>
                <c:pt idx="7">
                  <c:v>45527</c:v>
                </c:pt>
                <c:pt idx="8">
                  <c:v>45534</c:v>
                </c:pt>
                <c:pt idx="9">
                  <c:v>45541</c:v>
                </c:pt>
                <c:pt idx="10">
                  <c:v>45548</c:v>
                </c:pt>
                <c:pt idx="11">
                  <c:v>45555</c:v>
                </c:pt>
                <c:pt idx="12">
                  <c:v>45562</c:v>
                </c:pt>
                <c:pt idx="13">
                  <c:v>45569</c:v>
                </c:pt>
                <c:pt idx="14">
                  <c:v>45576</c:v>
                </c:pt>
                <c:pt idx="15">
                  <c:v>45583</c:v>
                </c:pt>
                <c:pt idx="16">
                  <c:v>45590</c:v>
                </c:pt>
                <c:pt idx="17">
                  <c:v>45597</c:v>
                </c:pt>
                <c:pt idx="18">
                  <c:v>45604</c:v>
                </c:pt>
                <c:pt idx="19">
                  <c:v>45611</c:v>
                </c:pt>
                <c:pt idx="20">
                  <c:v>45618</c:v>
                </c:pt>
                <c:pt idx="21">
                  <c:v>45625</c:v>
                </c:pt>
                <c:pt idx="22">
                  <c:v>45632</c:v>
                </c:pt>
                <c:pt idx="23">
                  <c:v>45639</c:v>
                </c:pt>
                <c:pt idx="24">
                  <c:v>45646</c:v>
                </c:pt>
                <c:pt idx="25">
                  <c:v>45653</c:v>
                </c:pt>
                <c:pt idx="26">
                  <c:v>45660</c:v>
                </c:pt>
                <c:pt idx="27">
                  <c:v>45667</c:v>
                </c:pt>
                <c:pt idx="28">
                  <c:v>45674</c:v>
                </c:pt>
                <c:pt idx="29">
                  <c:v>45681</c:v>
                </c:pt>
                <c:pt idx="30">
                  <c:v>45688</c:v>
                </c:pt>
                <c:pt idx="31">
                  <c:v>45695</c:v>
                </c:pt>
                <c:pt idx="32">
                  <c:v>45702</c:v>
                </c:pt>
                <c:pt idx="33">
                  <c:v>45709</c:v>
                </c:pt>
                <c:pt idx="34">
                  <c:v>45716</c:v>
                </c:pt>
                <c:pt idx="35">
                  <c:v>45723</c:v>
                </c:pt>
                <c:pt idx="36">
                  <c:v>45730</c:v>
                </c:pt>
                <c:pt idx="37">
                  <c:v>45737</c:v>
                </c:pt>
                <c:pt idx="38">
                  <c:v>45744</c:v>
                </c:pt>
                <c:pt idx="39">
                  <c:v>45751</c:v>
                </c:pt>
                <c:pt idx="40">
                  <c:v>45758</c:v>
                </c:pt>
                <c:pt idx="41">
                  <c:v>45765</c:v>
                </c:pt>
                <c:pt idx="42">
                  <c:v>45772</c:v>
                </c:pt>
                <c:pt idx="43">
                  <c:v>45779</c:v>
                </c:pt>
                <c:pt idx="44">
                  <c:v>45786</c:v>
                </c:pt>
                <c:pt idx="45">
                  <c:v>45793</c:v>
                </c:pt>
                <c:pt idx="46">
                  <c:v>45800</c:v>
                </c:pt>
                <c:pt idx="47">
                  <c:v>45807</c:v>
                </c:pt>
                <c:pt idx="48">
                  <c:v>45814</c:v>
                </c:pt>
                <c:pt idx="49">
                  <c:v>45821</c:v>
                </c:pt>
                <c:pt idx="50">
                  <c:v>45828</c:v>
                </c:pt>
                <c:pt idx="51">
                  <c:v>45835</c:v>
                </c:pt>
                <c:pt idx="52">
                  <c:v>45842</c:v>
                </c:pt>
                <c:pt idx="53">
                  <c:v>45849</c:v>
                </c:pt>
                <c:pt idx="54">
                  <c:v>45856</c:v>
                </c:pt>
                <c:pt idx="55">
                  <c:v>45863</c:v>
                </c:pt>
                <c:pt idx="56">
                  <c:v>45870</c:v>
                </c:pt>
                <c:pt idx="57">
                  <c:v>45877</c:v>
                </c:pt>
                <c:pt idx="58">
                  <c:v>45884</c:v>
                </c:pt>
                <c:pt idx="59">
                  <c:v>45891</c:v>
                </c:pt>
                <c:pt idx="60">
                  <c:v>45898</c:v>
                </c:pt>
                <c:pt idx="61">
                  <c:v>45905</c:v>
                </c:pt>
                <c:pt idx="62">
                  <c:v>45912</c:v>
                </c:pt>
                <c:pt idx="63">
                  <c:v>45919</c:v>
                </c:pt>
                <c:pt idx="64">
                  <c:v>45926</c:v>
                </c:pt>
                <c:pt idx="65">
                  <c:v>45933</c:v>
                </c:pt>
                <c:pt idx="66">
                  <c:v>45940</c:v>
                </c:pt>
                <c:pt idx="67">
                  <c:v>45947</c:v>
                </c:pt>
                <c:pt idx="68">
                  <c:v>45954</c:v>
                </c:pt>
                <c:pt idx="69">
                  <c:v>45961</c:v>
                </c:pt>
                <c:pt idx="70">
                  <c:v>45968</c:v>
                </c:pt>
                <c:pt idx="71">
                  <c:v>45975</c:v>
                </c:pt>
              </c:numCache>
            </c:numRef>
          </c:cat>
          <c:val>
            <c:numRef>
              <c:f>'指数合成-1.0'!$DJ$373:$DJ$444</c:f>
              <c:numCache>
                <c:formatCode>0.0</c:formatCode>
                <c:ptCount val="72"/>
                <c:pt idx="0">
                  <c:v>32.453286708932893</c:v>
                </c:pt>
                <c:pt idx="1">
                  <c:v>39.791508318745969</c:v>
                </c:pt>
                <c:pt idx="2">
                  <c:v>28.698542782233915</c:v>
                </c:pt>
                <c:pt idx="3">
                  <c:v>21.237971806333292</c:v>
                </c:pt>
                <c:pt idx="4">
                  <c:v>29.886036664431799</c:v>
                </c:pt>
                <c:pt idx="5">
                  <c:v>92.290945245036738</c:v>
                </c:pt>
                <c:pt idx="6">
                  <c:v>25.063717909742465</c:v>
                </c:pt>
                <c:pt idx="7">
                  <c:v>30.055882288595484</c:v>
                </c:pt>
                <c:pt idx="8">
                  <c:v>19.772907008294723</c:v>
                </c:pt>
                <c:pt idx="9">
                  <c:v>33.632613626353617</c:v>
                </c:pt>
                <c:pt idx="10">
                  <c:v>32.200332911782425</c:v>
                </c:pt>
                <c:pt idx="11">
                  <c:v>-13.218868895836408</c:v>
                </c:pt>
                <c:pt idx="12">
                  <c:v>13.727373036290459</c:v>
                </c:pt>
                <c:pt idx="13">
                  <c:v>21.715833142063019</c:v>
                </c:pt>
                <c:pt idx="14">
                  <c:v>45.071575024750558</c:v>
                </c:pt>
                <c:pt idx="15">
                  <c:v>50.66688304896735</c:v>
                </c:pt>
                <c:pt idx="16">
                  <c:v>11.80617153344734</c:v>
                </c:pt>
                <c:pt idx="17">
                  <c:v>-1.8009647135888116</c:v>
                </c:pt>
                <c:pt idx="18">
                  <c:v>1.6996640148560829</c:v>
                </c:pt>
                <c:pt idx="19">
                  <c:v>2.5612126031377755</c:v>
                </c:pt>
                <c:pt idx="20">
                  <c:v>6.4031020145181685</c:v>
                </c:pt>
                <c:pt idx="21">
                  <c:v>2.4518551303871448</c:v>
                </c:pt>
                <c:pt idx="22">
                  <c:v>-9.2862002839129616</c:v>
                </c:pt>
                <c:pt idx="23">
                  <c:v>-6.886650529389911</c:v>
                </c:pt>
                <c:pt idx="24">
                  <c:v>-1.8250748760522129E-3</c:v>
                </c:pt>
                <c:pt idx="25">
                  <c:v>15.837248860098342</c:v>
                </c:pt>
                <c:pt idx="26">
                  <c:v>-9.6862290992606148</c:v>
                </c:pt>
                <c:pt idx="27">
                  <c:v>-11.384772334606737</c:v>
                </c:pt>
                <c:pt idx="28">
                  <c:v>0.13766773572656632</c:v>
                </c:pt>
                <c:pt idx="29">
                  <c:v>8.8599124034230812</c:v>
                </c:pt>
                <c:pt idx="30">
                  <c:v>9.4764748917670119</c:v>
                </c:pt>
                <c:pt idx="31">
                  <c:v>-17.399658303131446</c:v>
                </c:pt>
                <c:pt idx="32">
                  <c:v>-7.5015968989799831</c:v>
                </c:pt>
                <c:pt idx="33">
                  <c:v>42.582193678566369</c:v>
                </c:pt>
                <c:pt idx="34">
                  <c:v>8.1498857652443633</c:v>
                </c:pt>
                <c:pt idx="35">
                  <c:v>15.939096646829839</c:v>
                </c:pt>
                <c:pt idx="36">
                  <c:v>0.49999220689349499</c:v>
                </c:pt>
                <c:pt idx="37">
                  <c:v>3.7771133332203988</c:v>
                </c:pt>
                <c:pt idx="38">
                  <c:v>12.590025093805693</c:v>
                </c:pt>
                <c:pt idx="39">
                  <c:v>12.009935847219097</c:v>
                </c:pt>
                <c:pt idx="40">
                  <c:v>3.9448933944332509</c:v>
                </c:pt>
                <c:pt idx="41">
                  <c:v>8.0230538272439986</c:v>
                </c:pt>
                <c:pt idx="42">
                  <c:v>-2.4768557069379398</c:v>
                </c:pt>
                <c:pt idx="43">
                  <c:v>12.267696622362308</c:v>
                </c:pt>
                <c:pt idx="44">
                  <c:v>-8.5828254946518143</c:v>
                </c:pt>
                <c:pt idx="45">
                  <c:v>-3.908335949296486</c:v>
                </c:pt>
                <c:pt idx="46">
                  <c:v>2.4280581729566109</c:v>
                </c:pt>
                <c:pt idx="47">
                  <c:v>0.14603674978062031</c:v>
                </c:pt>
                <c:pt idx="48">
                  <c:v>-7.9245159312461624</c:v>
                </c:pt>
                <c:pt idx="49">
                  <c:v>8.4579291960878038</c:v>
                </c:pt>
                <c:pt idx="50">
                  <c:v>9.5558467208441584</c:v>
                </c:pt>
                <c:pt idx="51">
                  <c:v>8.6803954402079171</c:v>
                </c:pt>
                <c:pt idx="52">
                  <c:v>2.239961963309625</c:v>
                </c:pt>
                <c:pt idx="53">
                  <c:v>-0.71803610855457123</c:v>
                </c:pt>
                <c:pt idx="54">
                  <c:v>4.8989557275507423</c:v>
                </c:pt>
                <c:pt idx="55">
                  <c:v>12.663224708164591</c:v>
                </c:pt>
                <c:pt idx="56">
                  <c:v>-4.5626167771222015</c:v>
                </c:pt>
                <c:pt idx="57">
                  <c:v>0.54337671498146278</c:v>
                </c:pt>
                <c:pt idx="58">
                  <c:v>5.3961335618267725</c:v>
                </c:pt>
                <c:pt idx="59">
                  <c:v>8.0003101581754379</c:v>
                </c:pt>
                <c:pt idx="60">
                  <c:v>3.5470134752442846</c:v>
                </c:pt>
                <c:pt idx="61">
                  <c:v>2.4681591892540666</c:v>
                </c:pt>
                <c:pt idx="62">
                  <c:v>2.5742321675414246</c:v>
                </c:pt>
                <c:pt idx="63">
                  <c:v>46.77797618859293</c:v>
                </c:pt>
                <c:pt idx="64">
                  <c:v>9.1950041923588515</c:v>
                </c:pt>
                <c:pt idx="65">
                  <c:v>5.3566167169806818</c:v>
                </c:pt>
                <c:pt idx="66">
                  <c:v>-3.318153236304326</c:v>
                </c:pt>
                <c:pt idx="67">
                  <c:v>2.7738731962091805</c:v>
                </c:pt>
                <c:pt idx="68">
                  <c:v>-18.495391682823197</c:v>
                </c:pt>
                <c:pt idx="69">
                  <c:v>26.644604984939861</c:v>
                </c:pt>
                <c:pt idx="70">
                  <c:v>25.038290236370315</c:v>
                </c:pt>
                <c:pt idx="71">
                  <c:v>-1.5713478438468229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3-F8D1-4D85-9288-16991D4C6C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6723552"/>
        <c:axId val="516751296"/>
        <c:extLst xmlns:c16r2="http://schemas.microsoft.com/office/drawing/2015/06/chart"/>
      </c:lineChart>
      <c:dateAx>
        <c:axId val="516723552"/>
        <c:scaling>
          <c:orientation val="minMax"/>
          <c:min val="45693"/>
        </c:scaling>
        <c:delete val="0"/>
        <c:axPos val="b"/>
        <c:numFmt formatCode="yy/m;@" sourceLinked="0"/>
        <c:majorTickMark val="in"/>
        <c:minorTickMark val="none"/>
        <c:tickLblPos val="low"/>
        <c:spPr>
          <a:noFill/>
          <a:ln w="6350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6751296"/>
        <c:crosses val="autoZero"/>
        <c:auto val="0"/>
        <c:lblOffset val="100"/>
        <c:baseTimeUnit val="days"/>
        <c:majorUnit val="1"/>
        <c:majorTimeUnit val="months"/>
      </c:dateAx>
      <c:valAx>
        <c:axId val="516751296"/>
        <c:scaling>
          <c:orientation val="minMax"/>
          <c:max val="100"/>
          <c:min val="-4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lumMod val="15000"/>
                      <a:lumOff val="85000"/>
                    </a:sysClr>
                  </a:solidFill>
                  <a:round/>
                </a14:hiddenLine>
              </a:ext>
            </a:extLst>
          </c:spPr>
        </c:majorGridlines>
        <c:numFmt formatCode="###,###,###,###,##0" sourceLinked="0"/>
        <c:majorTickMark val="in"/>
        <c:minorTickMark val="none"/>
        <c:tickLblPos val="nextTo"/>
        <c:spPr>
          <a:noFill/>
          <a:ln w="6350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6723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4540057096846247"/>
          <c:y val="2.8542220834114926E-5"/>
          <c:w val="0.55261028066469053"/>
          <c:h val="0.279371913667327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 xmlns:c16r2="http://schemas.microsoft.com/office/drawing/2015/06/chart"/>
  </c:chart>
  <c:spPr>
    <a:solidFill>
      <a:sysClr val="window" lastClr="FFFFFF"/>
    </a:solidFill>
    <a:ln w="9525" cap="flat" cmpd="sng" algn="ctr">
      <a:noFill/>
      <a:round/>
    </a:ln>
    <a:effectLst/>
    <a:extLs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lumMod val="15000"/>
              <a:lumOff val="85000"/>
            </a:sysClr>
          </a:solidFill>
          <a:round/>
        </a14:hiddenLine>
      </a:ext>
    </a:extLst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zh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b="1"/>
              <a:t>股票择时模型</a:t>
            </a:r>
            <a:r>
              <a:rPr lang="zh-CN" altLang="en-US" b="1" baseline="0"/>
              <a:t>六维度底层指标   所处历史分位数</a:t>
            </a:r>
            <a:endParaRPr lang="zh-CN" altLang="en-US" b="1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1843091206336168E-2"/>
          <c:y val="0.19927539074452111"/>
          <c:w val="0.91783630589562093"/>
          <c:h val="0.50508239690333645"/>
        </c:manualLayout>
      </c:layout>
      <c:lineChart>
        <c:grouping val="standard"/>
        <c:varyColors val="0"/>
        <c:ser>
          <c:idx val="5"/>
          <c:order val="0"/>
          <c:tx>
            <c:strRef>
              <c:f>股票择时信号!$AA$7</c:f>
              <c:strCache>
                <c:ptCount val="1"/>
                <c:pt idx="0">
                  <c:v>r00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5</c:f>
              <c:numCache>
                <c:formatCode>yyyy\-mm\-dd</c:formatCode>
                <c:ptCount val="295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</c:numCache>
            </c:numRef>
          </c:cat>
          <c:val>
            <c:numRef>
              <c:f>股票择时信号!$AA$11:$AA$305</c:f>
              <c:numCache>
                <c:formatCode>0.0%</c:formatCode>
                <c:ptCount val="29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.5</c:v>
                </c:pt>
                <c:pt idx="5">
                  <c:v>0</c:v>
                </c:pt>
                <c:pt idx="6">
                  <c:v>0.66600000000000004</c:v>
                </c:pt>
                <c:pt idx="7">
                  <c:v>1</c:v>
                </c:pt>
                <c:pt idx="8">
                  <c:v>0.875</c:v>
                </c:pt>
                <c:pt idx="9">
                  <c:v>0.88800000000000001</c:v>
                </c:pt>
                <c:pt idx="10">
                  <c:v>0.9</c:v>
                </c:pt>
                <c:pt idx="11">
                  <c:v>0.72699999999999998</c:v>
                </c:pt>
                <c:pt idx="12">
                  <c:v>1</c:v>
                </c:pt>
                <c:pt idx="13">
                  <c:v>0.92300000000000004</c:v>
                </c:pt>
                <c:pt idx="14">
                  <c:v>0.92800000000000005</c:v>
                </c:pt>
                <c:pt idx="15">
                  <c:v>0.8</c:v>
                </c:pt>
                <c:pt idx="16">
                  <c:v>0.875</c:v>
                </c:pt>
                <c:pt idx="17">
                  <c:v>0.82299999999999995</c:v>
                </c:pt>
                <c:pt idx="18">
                  <c:v>0.66600000000000004</c:v>
                </c:pt>
                <c:pt idx="19">
                  <c:v>0.78900000000000003</c:v>
                </c:pt>
                <c:pt idx="20">
                  <c:v>0.7</c:v>
                </c:pt>
                <c:pt idx="21">
                  <c:v>0.95199999999999996</c:v>
                </c:pt>
                <c:pt idx="22">
                  <c:v>0.45400000000000001</c:v>
                </c:pt>
                <c:pt idx="23">
                  <c:v>0.95599999999999996</c:v>
                </c:pt>
                <c:pt idx="24">
                  <c:v>0.625</c:v>
                </c:pt>
                <c:pt idx="25">
                  <c:v>0.96</c:v>
                </c:pt>
                <c:pt idx="26">
                  <c:v>0.61499999999999999</c:v>
                </c:pt>
                <c:pt idx="27">
                  <c:v>0.629</c:v>
                </c:pt>
                <c:pt idx="28">
                  <c:v>0.78500000000000003</c:v>
                </c:pt>
                <c:pt idx="29">
                  <c:v>1</c:v>
                </c:pt>
                <c:pt idx="30">
                  <c:v>0.433</c:v>
                </c:pt>
                <c:pt idx="31">
                  <c:v>0.96699999999999997</c:v>
                </c:pt>
                <c:pt idx="32">
                  <c:v>0.56200000000000006</c:v>
                </c:pt>
                <c:pt idx="33">
                  <c:v>0.33300000000000002</c:v>
                </c:pt>
                <c:pt idx="34">
                  <c:v>0.441</c:v>
                </c:pt>
                <c:pt idx="35">
                  <c:v>1</c:v>
                </c:pt>
                <c:pt idx="36">
                  <c:v>1</c:v>
                </c:pt>
                <c:pt idx="37">
                  <c:v>0.97199999999999998</c:v>
                </c:pt>
                <c:pt idx="38">
                  <c:v>0.23599999999999999</c:v>
                </c:pt>
                <c:pt idx="39">
                  <c:v>0.25600000000000001</c:v>
                </c:pt>
                <c:pt idx="40">
                  <c:v>0.8</c:v>
                </c:pt>
                <c:pt idx="41">
                  <c:v>0.80400000000000005</c:v>
                </c:pt>
                <c:pt idx="42">
                  <c:v>0.95199999999999996</c:v>
                </c:pt>
                <c:pt idx="43">
                  <c:v>0.72</c:v>
                </c:pt>
                <c:pt idx="44">
                  <c:v>0.36299999999999999</c:v>
                </c:pt>
                <c:pt idx="45">
                  <c:v>0.35499999999999998</c:v>
                </c:pt>
                <c:pt idx="46">
                  <c:v>0.63</c:v>
                </c:pt>
                <c:pt idx="47">
                  <c:v>0.59499999999999997</c:v>
                </c:pt>
                <c:pt idx="48">
                  <c:v>0.14499999999999999</c:v>
                </c:pt>
                <c:pt idx="49">
                  <c:v>0.42799999999999999</c:v>
                </c:pt>
                <c:pt idx="50">
                  <c:v>0.22</c:v>
                </c:pt>
                <c:pt idx="51">
                  <c:v>0.76400000000000001</c:v>
                </c:pt>
                <c:pt idx="52">
                  <c:v>0.32600000000000001</c:v>
                </c:pt>
                <c:pt idx="53">
                  <c:v>0.26400000000000001</c:v>
                </c:pt>
                <c:pt idx="54">
                  <c:v>0.40699999999999997</c:v>
                </c:pt>
                <c:pt idx="55">
                  <c:v>0.8</c:v>
                </c:pt>
                <c:pt idx="56">
                  <c:v>0.107</c:v>
                </c:pt>
                <c:pt idx="57">
                  <c:v>0.26300000000000001</c:v>
                </c:pt>
                <c:pt idx="58">
                  <c:v>0.75800000000000001</c:v>
                </c:pt>
                <c:pt idx="59">
                  <c:v>0.67700000000000005</c:v>
                </c:pt>
                <c:pt idx="60">
                  <c:v>0.66600000000000004</c:v>
                </c:pt>
                <c:pt idx="61">
                  <c:v>0.91800000000000004</c:v>
                </c:pt>
                <c:pt idx="62">
                  <c:v>0.53200000000000003</c:v>
                </c:pt>
                <c:pt idx="63">
                  <c:v>0.36499999999999999</c:v>
                </c:pt>
                <c:pt idx="64">
                  <c:v>0.79600000000000004</c:v>
                </c:pt>
                <c:pt idx="65">
                  <c:v>0.153</c:v>
                </c:pt>
                <c:pt idx="66">
                  <c:v>0.33300000000000002</c:v>
                </c:pt>
                <c:pt idx="67">
                  <c:v>0.55200000000000005</c:v>
                </c:pt>
                <c:pt idx="68">
                  <c:v>0.76400000000000001</c:v>
                </c:pt>
                <c:pt idx="69">
                  <c:v>0.52100000000000002</c:v>
                </c:pt>
                <c:pt idx="70">
                  <c:v>0.42799999999999999</c:v>
                </c:pt>
                <c:pt idx="71">
                  <c:v>0.38</c:v>
                </c:pt>
                <c:pt idx="72">
                  <c:v>0.38800000000000001</c:v>
                </c:pt>
                <c:pt idx="73">
                  <c:v>0.32800000000000001</c:v>
                </c:pt>
                <c:pt idx="74">
                  <c:v>0.52700000000000002</c:v>
                </c:pt>
                <c:pt idx="75">
                  <c:v>0.69299999999999995</c:v>
                </c:pt>
                <c:pt idx="76">
                  <c:v>0.53900000000000003</c:v>
                </c:pt>
                <c:pt idx="77">
                  <c:v>0.71399999999999997</c:v>
                </c:pt>
                <c:pt idx="78">
                  <c:v>0.24299999999999999</c:v>
                </c:pt>
                <c:pt idx="79">
                  <c:v>0.48099999999999998</c:v>
                </c:pt>
                <c:pt idx="80">
                  <c:v>0.61199999999999999</c:v>
                </c:pt>
                <c:pt idx="81">
                  <c:v>0.23400000000000001</c:v>
                </c:pt>
                <c:pt idx="82">
                  <c:v>0.621</c:v>
                </c:pt>
                <c:pt idx="83">
                  <c:v>0.48099999999999998</c:v>
                </c:pt>
                <c:pt idx="84">
                  <c:v>0.34499999999999997</c:v>
                </c:pt>
                <c:pt idx="85">
                  <c:v>0.247</c:v>
                </c:pt>
                <c:pt idx="86">
                  <c:v>0.39500000000000002</c:v>
                </c:pt>
                <c:pt idx="87">
                  <c:v>0.31</c:v>
                </c:pt>
                <c:pt idx="88">
                  <c:v>0.55600000000000005</c:v>
                </c:pt>
                <c:pt idx="89">
                  <c:v>0.42599999999999999</c:v>
                </c:pt>
                <c:pt idx="90">
                  <c:v>0.93300000000000005</c:v>
                </c:pt>
                <c:pt idx="91">
                  <c:v>0.17499999999999999</c:v>
                </c:pt>
                <c:pt idx="92">
                  <c:v>0.61899999999999999</c:v>
                </c:pt>
                <c:pt idx="93">
                  <c:v>0.74099999999999999</c:v>
                </c:pt>
                <c:pt idx="94">
                  <c:v>0.70199999999999996</c:v>
                </c:pt>
                <c:pt idx="95">
                  <c:v>0.621</c:v>
                </c:pt>
                <c:pt idx="96">
                  <c:v>0.17699999999999999</c:v>
                </c:pt>
                <c:pt idx="97">
                  <c:v>0.154</c:v>
                </c:pt>
                <c:pt idx="98">
                  <c:v>0.82599999999999996</c:v>
                </c:pt>
                <c:pt idx="99">
                  <c:v>0.28199999999999997</c:v>
                </c:pt>
                <c:pt idx="100">
                  <c:v>0.64</c:v>
                </c:pt>
                <c:pt idx="101">
                  <c:v>0.28699999999999998</c:v>
                </c:pt>
                <c:pt idx="102">
                  <c:v>0.32300000000000001</c:v>
                </c:pt>
                <c:pt idx="103">
                  <c:v>0.504</c:v>
                </c:pt>
                <c:pt idx="104">
                  <c:v>0.17299999999999999</c:v>
                </c:pt>
                <c:pt idx="105">
                  <c:v>9.5000000000000001E-2</c:v>
                </c:pt>
                <c:pt idx="106">
                  <c:v>9.4E-2</c:v>
                </c:pt>
                <c:pt idx="107">
                  <c:v>0.10199999999999999</c:v>
                </c:pt>
                <c:pt idx="108">
                  <c:v>7.3999999999999996E-2</c:v>
                </c:pt>
                <c:pt idx="109">
                  <c:v>9.0999999999999998E-2</c:v>
                </c:pt>
                <c:pt idx="110">
                  <c:v>5.3999999999999999E-2</c:v>
                </c:pt>
                <c:pt idx="111">
                  <c:v>0.108</c:v>
                </c:pt>
                <c:pt idx="112">
                  <c:v>5.2999999999999999E-2</c:v>
                </c:pt>
                <c:pt idx="113">
                  <c:v>6.0999999999999999E-2</c:v>
                </c:pt>
                <c:pt idx="114">
                  <c:v>7.0000000000000007E-2</c:v>
                </c:pt>
                <c:pt idx="115">
                  <c:v>0.34699999999999998</c:v>
                </c:pt>
                <c:pt idx="116">
                  <c:v>0.318</c:v>
                </c:pt>
                <c:pt idx="117">
                  <c:v>3.4000000000000002E-2</c:v>
                </c:pt>
                <c:pt idx="118">
                  <c:v>2.5000000000000001E-2</c:v>
                </c:pt>
                <c:pt idx="119">
                  <c:v>4.2000000000000003E-2</c:v>
                </c:pt>
                <c:pt idx="120">
                  <c:v>0.1</c:v>
                </c:pt>
                <c:pt idx="121">
                  <c:v>5.7000000000000002E-2</c:v>
                </c:pt>
                <c:pt idx="122">
                  <c:v>1.6E-2</c:v>
                </c:pt>
                <c:pt idx="123">
                  <c:v>5.6000000000000001E-2</c:v>
                </c:pt>
                <c:pt idx="124">
                  <c:v>1.6E-2</c:v>
                </c:pt>
                <c:pt idx="125">
                  <c:v>0.08</c:v>
                </c:pt>
                <c:pt idx="126">
                  <c:v>6.3E-2</c:v>
                </c:pt>
                <c:pt idx="127">
                  <c:v>0.11</c:v>
                </c:pt>
                <c:pt idx="128">
                  <c:v>0.16400000000000001</c:v>
                </c:pt>
                <c:pt idx="129">
                  <c:v>0.27100000000000002</c:v>
                </c:pt>
                <c:pt idx="130">
                  <c:v>0.223</c:v>
                </c:pt>
                <c:pt idx="131">
                  <c:v>6.0999999999999999E-2</c:v>
                </c:pt>
                <c:pt idx="132">
                  <c:v>0.121</c:v>
                </c:pt>
                <c:pt idx="133">
                  <c:v>0.67600000000000005</c:v>
                </c:pt>
                <c:pt idx="134">
                  <c:v>0.17899999999999999</c:v>
                </c:pt>
                <c:pt idx="135">
                  <c:v>0.185</c:v>
                </c:pt>
                <c:pt idx="136">
                  <c:v>0.16900000000000001</c:v>
                </c:pt>
                <c:pt idx="137">
                  <c:v>0.379</c:v>
                </c:pt>
                <c:pt idx="138">
                  <c:v>0.46300000000000002</c:v>
                </c:pt>
                <c:pt idx="139">
                  <c:v>0.91300000000000003</c:v>
                </c:pt>
                <c:pt idx="140">
                  <c:v>0.77800000000000002</c:v>
                </c:pt>
                <c:pt idx="141">
                  <c:v>0.27600000000000002</c:v>
                </c:pt>
                <c:pt idx="142">
                  <c:v>0.96399999999999997</c:v>
                </c:pt>
                <c:pt idx="143">
                  <c:v>0.216</c:v>
                </c:pt>
                <c:pt idx="144">
                  <c:v>0.93700000000000006</c:v>
                </c:pt>
                <c:pt idx="145">
                  <c:v>0.62</c:v>
                </c:pt>
                <c:pt idx="146">
                  <c:v>0.35599999999999998</c:v>
                </c:pt>
                <c:pt idx="147">
                  <c:v>0.28499999999999998</c:v>
                </c:pt>
                <c:pt idx="148">
                  <c:v>0.73599999999999999</c:v>
                </c:pt>
                <c:pt idx="149">
                  <c:v>0.94599999999999995</c:v>
                </c:pt>
                <c:pt idx="150">
                  <c:v>0.5</c:v>
                </c:pt>
                <c:pt idx="151">
                  <c:v>0.45600000000000002</c:v>
                </c:pt>
                <c:pt idx="152">
                  <c:v>0.25600000000000001</c:v>
                </c:pt>
                <c:pt idx="153">
                  <c:v>0.72499999999999998</c:v>
                </c:pt>
                <c:pt idx="154">
                  <c:v>0.37</c:v>
                </c:pt>
                <c:pt idx="155">
                  <c:v>0.96099999999999997</c:v>
                </c:pt>
                <c:pt idx="156">
                  <c:v>0.16600000000000001</c:v>
                </c:pt>
                <c:pt idx="157">
                  <c:v>0.35</c:v>
                </c:pt>
                <c:pt idx="158">
                  <c:v>0.76500000000000001</c:v>
                </c:pt>
                <c:pt idx="159">
                  <c:v>0.71</c:v>
                </c:pt>
                <c:pt idx="160">
                  <c:v>0.25600000000000001</c:v>
                </c:pt>
                <c:pt idx="161">
                  <c:v>0.34699999999999998</c:v>
                </c:pt>
                <c:pt idx="162">
                  <c:v>0.185</c:v>
                </c:pt>
                <c:pt idx="163">
                  <c:v>0.214</c:v>
                </c:pt>
                <c:pt idx="164">
                  <c:v>0.54200000000000004</c:v>
                </c:pt>
                <c:pt idx="165">
                  <c:v>0.13300000000000001</c:v>
                </c:pt>
                <c:pt idx="166">
                  <c:v>0.27700000000000002</c:v>
                </c:pt>
                <c:pt idx="167">
                  <c:v>0.311</c:v>
                </c:pt>
                <c:pt idx="168">
                  <c:v>0.95799999999999996</c:v>
                </c:pt>
                <c:pt idx="169">
                  <c:v>0.33100000000000002</c:v>
                </c:pt>
                <c:pt idx="170">
                  <c:v>0.48799999999999999</c:v>
                </c:pt>
                <c:pt idx="171">
                  <c:v>0.28599999999999998</c:v>
                </c:pt>
                <c:pt idx="172">
                  <c:v>0.191</c:v>
                </c:pt>
                <c:pt idx="173">
                  <c:v>0.19</c:v>
                </c:pt>
                <c:pt idx="174">
                  <c:v>0.16</c:v>
                </c:pt>
                <c:pt idx="175">
                  <c:v>0.434</c:v>
                </c:pt>
                <c:pt idx="176">
                  <c:v>0.159</c:v>
                </c:pt>
                <c:pt idx="177">
                  <c:v>0.56999999999999995</c:v>
                </c:pt>
                <c:pt idx="178">
                  <c:v>0.443</c:v>
                </c:pt>
                <c:pt idx="179">
                  <c:v>0.312</c:v>
                </c:pt>
                <c:pt idx="180">
                  <c:v>0.255</c:v>
                </c:pt>
                <c:pt idx="181">
                  <c:v>0.97199999999999998</c:v>
                </c:pt>
                <c:pt idx="182">
                  <c:v>0.95599999999999996</c:v>
                </c:pt>
                <c:pt idx="183">
                  <c:v>0.49099999999999999</c:v>
                </c:pt>
                <c:pt idx="184">
                  <c:v>0.74399999999999999</c:v>
                </c:pt>
                <c:pt idx="185">
                  <c:v>0.89100000000000001</c:v>
                </c:pt>
                <c:pt idx="186">
                  <c:v>0.35399999999999998</c:v>
                </c:pt>
                <c:pt idx="187">
                  <c:v>0.29399999999999998</c:v>
                </c:pt>
                <c:pt idx="188">
                  <c:v>0.65900000000000003</c:v>
                </c:pt>
                <c:pt idx="189">
                  <c:v>0.624</c:v>
                </c:pt>
                <c:pt idx="190">
                  <c:v>0.88400000000000001</c:v>
                </c:pt>
                <c:pt idx="191">
                  <c:v>0.70599999999999996</c:v>
                </c:pt>
                <c:pt idx="192">
                  <c:v>0.68200000000000005</c:v>
                </c:pt>
                <c:pt idx="193">
                  <c:v>0.34100000000000003</c:v>
                </c:pt>
                <c:pt idx="194">
                  <c:v>0.93799999999999994</c:v>
                </c:pt>
                <c:pt idx="195">
                  <c:v>0.22</c:v>
                </c:pt>
                <c:pt idx="196">
                  <c:v>0.65300000000000002</c:v>
                </c:pt>
                <c:pt idx="197">
                  <c:v>0.65400000000000003</c:v>
                </c:pt>
                <c:pt idx="198">
                  <c:v>0.81799999999999995</c:v>
                </c:pt>
                <c:pt idx="199">
                  <c:v>0.60799999999999998</c:v>
                </c:pt>
                <c:pt idx="200">
                  <c:v>0.32</c:v>
                </c:pt>
                <c:pt idx="201">
                  <c:v>0.14899999999999999</c:v>
                </c:pt>
                <c:pt idx="202">
                  <c:v>0.20699999999999999</c:v>
                </c:pt>
                <c:pt idx="203">
                  <c:v>0.29499999999999998</c:v>
                </c:pt>
                <c:pt idx="204">
                  <c:v>0.23</c:v>
                </c:pt>
                <c:pt idx="205">
                  <c:v>0.18</c:v>
                </c:pt>
                <c:pt idx="206">
                  <c:v>0.41699999999999998</c:v>
                </c:pt>
                <c:pt idx="207">
                  <c:v>0.879</c:v>
                </c:pt>
                <c:pt idx="208">
                  <c:v>0.245</c:v>
                </c:pt>
                <c:pt idx="209">
                  <c:v>0.30099999999999999</c:v>
                </c:pt>
                <c:pt idx="210">
                  <c:v>0.504</c:v>
                </c:pt>
                <c:pt idx="211">
                  <c:v>0.27900000000000003</c:v>
                </c:pt>
                <c:pt idx="212">
                  <c:v>0.60799999999999998</c:v>
                </c:pt>
                <c:pt idx="213">
                  <c:v>0.30499999999999999</c:v>
                </c:pt>
                <c:pt idx="214">
                  <c:v>0.126</c:v>
                </c:pt>
                <c:pt idx="215">
                  <c:v>0.14399999999999999</c:v>
                </c:pt>
                <c:pt idx="216">
                  <c:v>0.189</c:v>
                </c:pt>
                <c:pt idx="217">
                  <c:v>0.17</c:v>
                </c:pt>
                <c:pt idx="218">
                  <c:v>0.13300000000000001</c:v>
                </c:pt>
                <c:pt idx="219">
                  <c:v>0.191</c:v>
                </c:pt>
                <c:pt idx="220">
                  <c:v>0.79</c:v>
                </c:pt>
                <c:pt idx="221">
                  <c:v>0.77800000000000002</c:v>
                </c:pt>
                <c:pt idx="222">
                  <c:v>0.28299999999999997</c:v>
                </c:pt>
                <c:pt idx="223">
                  <c:v>0.23300000000000001</c:v>
                </c:pt>
                <c:pt idx="224">
                  <c:v>0.32100000000000001</c:v>
                </c:pt>
                <c:pt idx="225">
                  <c:v>0.26600000000000001</c:v>
                </c:pt>
                <c:pt idx="226">
                  <c:v>0.216</c:v>
                </c:pt>
                <c:pt idx="227">
                  <c:v>0.246</c:v>
                </c:pt>
                <c:pt idx="228">
                  <c:v>0.17899999999999999</c:v>
                </c:pt>
                <c:pt idx="229">
                  <c:v>0.122</c:v>
                </c:pt>
                <c:pt idx="230">
                  <c:v>0.317</c:v>
                </c:pt>
                <c:pt idx="231">
                  <c:v>0.14699999999999999</c:v>
                </c:pt>
                <c:pt idx="232">
                  <c:v>0.185</c:v>
                </c:pt>
                <c:pt idx="233">
                  <c:v>0.35599999999999998</c:v>
                </c:pt>
                <c:pt idx="234">
                  <c:v>9.8000000000000004E-2</c:v>
                </c:pt>
                <c:pt idx="235">
                  <c:v>0.48899999999999999</c:v>
                </c:pt>
                <c:pt idx="236">
                  <c:v>7.5999999999999998E-2</c:v>
                </c:pt>
                <c:pt idx="237">
                  <c:v>0.13</c:v>
                </c:pt>
                <c:pt idx="238">
                  <c:v>0.1</c:v>
                </c:pt>
                <c:pt idx="239">
                  <c:v>0.1</c:v>
                </c:pt>
                <c:pt idx="240">
                  <c:v>0.13700000000000001</c:v>
                </c:pt>
                <c:pt idx="241">
                  <c:v>0.14499999999999999</c:v>
                </c:pt>
                <c:pt idx="242">
                  <c:v>0.24299999999999999</c:v>
                </c:pt>
                <c:pt idx="243">
                  <c:v>0.17199999999999999</c:v>
                </c:pt>
                <c:pt idx="244">
                  <c:v>0.184</c:v>
                </c:pt>
                <c:pt idx="245">
                  <c:v>0.35099999999999998</c:v>
                </c:pt>
                <c:pt idx="246">
                  <c:v>9.7000000000000003E-2</c:v>
                </c:pt>
                <c:pt idx="247">
                  <c:v>0.125</c:v>
                </c:pt>
                <c:pt idx="248">
                  <c:v>0.104</c:v>
                </c:pt>
                <c:pt idx="249">
                  <c:v>0.96299999999999997</c:v>
                </c:pt>
                <c:pt idx="250">
                  <c:v>0.72</c:v>
                </c:pt>
                <c:pt idx="251">
                  <c:v>0.26200000000000001</c:v>
                </c:pt>
                <c:pt idx="252">
                  <c:v>0.14199999999999999</c:v>
                </c:pt>
                <c:pt idx="253">
                  <c:v>0.28399999999999997</c:v>
                </c:pt>
                <c:pt idx="254">
                  <c:v>0.22800000000000001</c:v>
                </c:pt>
                <c:pt idx="255">
                  <c:v>0.67400000000000004</c:v>
                </c:pt>
                <c:pt idx="256">
                  <c:v>0.13200000000000001</c:v>
                </c:pt>
                <c:pt idx="257">
                  <c:v>9.2999999999999999E-2</c:v>
                </c:pt>
                <c:pt idx="258">
                  <c:v>9.2999999999999999E-2</c:v>
                </c:pt>
                <c:pt idx="259">
                  <c:v>0.247</c:v>
                </c:pt>
                <c:pt idx="260">
                  <c:v>0.623</c:v>
                </c:pt>
                <c:pt idx="261">
                  <c:v>0.13</c:v>
                </c:pt>
                <c:pt idx="262">
                  <c:v>0.122</c:v>
                </c:pt>
                <c:pt idx="263">
                  <c:v>9.5000000000000001E-2</c:v>
                </c:pt>
                <c:pt idx="264">
                  <c:v>0.128</c:v>
                </c:pt>
                <c:pt idx="265">
                  <c:v>7.0999999999999994E-2</c:v>
                </c:pt>
                <c:pt idx="266">
                  <c:v>2.1999999999999999E-2</c:v>
                </c:pt>
                <c:pt idx="267">
                  <c:v>5.6000000000000001E-2</c:v>
                </c:pt>
                <c:pt idx="268">
                  <c:v>3.3000000000000002E-2</c:v>
                </c:pt>
                <c:pt idx="269">
                  <c:v>4.8000000000000001E-2</c:v>
                </c:pt>
                <c:pt idx="270">
                  <c:v>2.1999999999999999E-2</c:v>
                </c:pt>
                <c:pt idx="271">
                  <c:v>3.5999999999999997E-2</c:v>
                </c:pt>
                <c:pt idx="272">
                  <c:v>0.04</c:v>
                </c:pt>
                <c:pt idx="273">
                  <c:v>2.5000000000000001E-2</c:v>
                </c:pt>
                <c:pt idx="274">
                  <c:v>0.01</c:v>
                </c:pt>
                <c:pt idx="275">
                  <c:v>0.04</c:v>
                </c:pt>
                <c:pt idx="276">
                  <c:v>0.05</c:v>
                </c:pt>
                <c:pt idx="277">
                  <c:v>0.01</c:v>
                </c:pt>
                <c:pt idx="278">
                  <c:v>3.0000000000000001E-3</c:v>
                </c:pt>
                <c:pt idx="279">
                  <c:v>3.0000000000000001E-3</c:v>
                </c:pt>
                <c:pt idx="280">
                  <c:v>3.9E-2</c:v>
                </c:pt>
                <c:pt idx="281">
                  <c:v>1.7000000000000001E-2</c:v>
                </c:pt>
                <c:pt idx="282">
                  <c:v>2.8000000000000001E-2</c:v>
                </c:pt>
                <c:pt idx="283">
                  <c:v>3.7999999999999999E-2</c:v>
                </c:pt>
                <c:pt idx="284">
                  <c:v>7.0000000000000007E-2</c:v>
                </c:pt>
                <c:pt idx="285">
                  <c:v>0.105</c:v>
                </c:pt>
                <c:pt idx="286">
                  <c:v>0.122</c:v>
                </c:pt>
                <c:pt idx="287">
                  <c:v>4.1000000000000002E-2</c:v>
                </c:pt>
                <c:pt idx="288">
                  <c:v>0.01</c:v>
                </c:pt>
                <c:pt idx="289">
                  <c:v>3.4000000000000002E-2</c:v>
                </c:pt>
                <c:pt idx="290">
                  <c:v>8.8999999999999996E-2</c:v>
                </c:pt>
                <c:pt idx="291">
                  <c:v>4.3999999999999997E-2</c:v>
                </c:pt>
                <c:pt idx="292">
                  <c:v>8.8999999999999996E-2</c:v>
                </c:pt>
                <c:pt idx="293">
                  <c:v>4.3999999999999997E-2</c:v>
                </c:pt>
                <c:pt idx="294">
                  <c:v>2.7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A0B-4F0F-A94A-9E4D16C1C1B1}"/>
            </c:ext>
          </c:extLst>
        </c:ser>
        <c:ser>
          <c:idx val="0"/>
          <c:order val="1"/>
          <c:tx>
            <c:strRef>
              <c:f>股票择时信号!$AB$7</c:f>
              <c:strCache>
                <c:ptCount val="1"/>
                <c:pt idx="0">
                  <c:v> 过去12个月滚动新增社融增速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5</c:f>
              <c:numCache>
                <c:formatCode>yyyy\-mm\-dd</c:formatCode>
                <c:ptCount val="295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</c:numCache>
            </c:numRef>
          </c:cat>
          <c:val>
            <c:numRef>
              <c:f>股票择时信号!$AB$11:$AB$305</c:f>
              <c:numCache>
                <c:formatCode>0.0%</c:formatCode>
                <c:ptCount val="29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.83299999999999996</c:v>
                </c:pt>
                <c:pt idx="7">
                  <c:v>0.71399999999999997</c:v>
                </c:pt>
                <c:pt idx="8">
                  <c:v>0.625</c:v>
                </c:pt>
                <c:pt idx="9">
                  <c:v>1</c:v>
                </c:pt>
                <c:pt idx="10">
                  <c:v>0.9</c:v>
                </c:pt>
                <c:pt idx="11">
                  <c:v>0.81799999999999995</c:v>
                </c:pt>
                <c:pt idx="12">
                  <c:v>0.75</c:v>
                </c:pt>
                <c:pt idx="13">
                  <c:v>1</c:v>
                </c:pt>
                <c:pt idx="14">
                  <c:v>0.92800000000000005</c:v>
                </c:pt>
                <c:pt idx="15">
                  <c:v>0.86599999999999999</c:v>
                </c:pt>
                <c:pt idx="16">
                  <c:v>0.81200000000000006</c:v>
                </c:pt>
                <c:pt idx="17">
                  <c:v>0.76400000000000001</c:v>
                </c:pt>
                <c:pt idx="18">
                  <c:v>1</c:v>
                </c:pt>
                <c:pt idx="19">
                  <c:v>0.94699999999999995</c:v>
                </c:pt>
                <c:pt idx="20">
                  <c:v>0.9</c:v>
                </c:pt>
                <c:pt idx="21">
                  <c:v>0.85699999999999998</c:v>
                </c:pt>
                <c:pt idx="22">
                  <c:v>1</c:v>
                </c:pt>
                <c:pt idx="23">
                  <c:v>0.95599999999999996</c:v>
                </c:pt>
                <c:pt idx="24">
                  <c:v>0.91600000000000004</c:v>
                </c:pt>
                <c:pt idx="25">
                  <c:v>0.88</c:v>
                </c:pt>
                <c:pt idx="26">
                  <c:v>0.84599999999999997</c:v>
                </c:pt>
                <c:pt idx="27">
                  <c:v>1</c:v>
                </c:pt>
                <c:pt idx="28">
                  <c:v>0.96399999999999997</c:v>
                </c:pt>
                <c:pt idx="29">
                  <c:v>0.93100000000000005</c:v>
                </c:pt>
                <c:pt idx="30">
                  <c:v>0.9</c:v>
                </c:pt>
                <c:pt idx="31">
                  <c:v>1</c:v>
                </c:pt>
                <c:pt idx="32">
                  <c:v>0.96799999999999997</c:v>
                </c:pt>
                <c:pt idx="33">
                  <c:v>0.93899999999999995</c:v>
                </c:pt>
                <c:pt idx="34">
                  <c:v>0.91100000000000003</c:v>
                </c:pt>
                <c:pt idx="35">
                  <c:v>0.88500000000000001</c:v>
                </c:pt>
                <c:pt idx="36">
                  <c:v>0.86099999999999999</c:v>
                </c:pt>
                <c:pt idx="37">
                  <c:v>0.83699999999999997</c:v>
                </c:pt>
                <c:pt idx="38">
                  <c:v>0.81499999999999995</c:v>
                </c:pt>
                <c:pt idx="39">
                  <c:v>0.79400000000000004</c:v>
                </c:pt>
                <c:pt idx="40">
                  <c:v>0.55000000000000004</c:v>
                </c:pt>
                <c:pt idx="41">
                  <c:v>0.53600000000000003</c:v>
                </c:pt>
                <c:pt idx="42">
                  <c:v>0.52300000000000002</c:v>
                </c:pt>
                <c:pt idx="43">
                  <c:v>0.51100000000000001</c:v>
                </c:pt>
                <c:pt idx="44">
                  <c:v>0.5</c:v>
                </c:pt>
                <c:pt idx="45">
                  <c:v>0.48799999999999999</c:v>
                </c:pt>
                <c:pt idx="46">
                  <c:v>0.47799999999999998</c:v>
                </c:pt>
                <c:pt idx="47">
                  <c:v>0.46800000000000003</c:v>
                </c:pt>
                <c:pt idx="48">
                  <c:v>0.54100000000000004</c:v>
                </c:pt>
                <c:pt idx="49">
                  <c:v>0.53</c:v>
                </c:pt>
                <c:pt idx="50">
                  <c:v>0.52</c:v>
                </c:pt>
                <c:pt idx="51">
                  <c:v>0.50900000000000001</c:v>
                </c:pt>
                <c:pt idx="52">
                  <c:v>0.5</c:v>
                </c:pt>
                <c:pt idx="53">
                  <c:v>9.4E-2</c:v>
                </c:pt>
                <c:pt idx="54">
                  <c:v>9.1999999999999998E-2</c:v>
                </c:pt>
                <c:pt idx="55">
                  <c:v>0.09</c:v>
                </c:pt>
                <c:pt idx="56">
                  <c:v>8.8999999999999996E-2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9.0999999999999998E-2</c:v>
                </c:pt>
                <c:pt idx="88">
                  <c:v>0.09</c:v>
                </c:pt>
                <c:pt idx="89">
                  <c:v>8.8999999999999996E-2</c:v>
                </c:pt>
                <c:pt idx="90">
                  <c:v>8.7999999999999995E-2</c:v>
                </c:pt>
                <c:pt idx="91">
                  <c:v>8.6999999999999994E-2</c:v>
                </c:pt>
                <c:pt idx="92">
                  <c:v>0.19500000000000001</c:v>
                </c:pt>
                <c:pt idx="93">
                  <c:v>0.193</c:v>
                </c:pt>
                <c:pt idx="94">
                  <c:v>0.191</c:v>
                </c:pt>
                <c:pt idx="95">
                  <c:v>0.189</c:v>
                </c:pt>
                <c:pt idx="96">
                  <c:v>0.22900000000000001</c:v>
                </c:pt>
                <c:pt idx="97">
                  <c:v>0.22600000000000001</c:v>
                </c:pt>
                <c:pt idx="98">
                  <c:v>0.224</c:v>
                </c:pt>
                <c:pt idx="99">
                  <c:v>0.222</c:v>
                </c:pt>
                <c:pt idx="100">
                  <c:v>0.13</c:v>
                </c:pt>
                <c:pt idx="101">
                  <c:v>0.128</c:v>
                </c:pt>
                <c:pt idx="102">
                  <c:v>0.127</c:v>
                </c:pt>
                <c:pt idx="103">
                  <c:v>0.126</c:v>
                </c:pt>
                <c:pt idx="104">
                  <c:v>0.125</c:v>
                </c:pt>
                <c:pt idx="105">
                  <c:v>0.33300000000000002</c:v>
                </c:pt>
                <c:pt idx="106">
                  <c:v>0.33</c:v>
                </c:pt>
                <c:pt idx="107">
                  <c:v>0.32700000000000001</c:v>
                </c:pt>
                <c:pt idx="108">
                  <c:v>0.32400000000000001</c:v>
                </c:pt>
                <c:pt idx="109">
                  <c:v>0.40300000000000002</c:v>
                </c:pt>
                <c:pt idx="110">
                  <c:v>0.4</c:v>
                </c:pt>
                <c:pt idx="111">
                  <c:v>0.39600000000000002</c:v>
                </c:pt>
                <c:pt idx="112">
                  <c:v>0.39200000000000002</c:v>
                </c:pt>
                <c:pt idx="113">
                  <c:v>0.46</c:v>
                </c:pt>
                <c:pt idx="114">
                  <c:v>0.45600000000000002</c:v>
                </c:pt>
                <c:pt idx="115">
                  <c:v>0.45200000000000001</c:v>
                </c:pt>
                <c:pt idx="116">
                  <c:v>0.44800000000000001</c:v>
                </c:pt>
                <c:pt idx="117">
                  <c:v>0.44400000000000001</c:v>
                </c:pt>
                <c:pt idx="118">
                  <c:v>0.48299999999999998</c:v>
                </c:pt>
                <c:pt idx="119">
                  <c:v>0.47799999999999998</c:v>
                </c:pt>
                <c:pt idx="120">
                  <c:v>0.47499999999999998</c:v>
                </c:pt>
                <c:pt idx="121">
                  <c:v>0.47099999999999997</c:v>
                </c:pt>
                <c:pt idx="122">
                  <c:v>0.53200000000000003</c:v>
                </c:pt>
                <c:pt idx="123">
                  <c:v>0.52800000000000002</c:v>
                </c:pt>
                <c:pt idx="124">
                  <c:v>0.52400000000000002</c:v>
                </c:pt>
                <c:pt idx="125">
                  <c:v>0.52</c:v>
                </c:pt>
                <c:pt idx="126">
                  <c:v>0.54700000000000004</c:v>
                </c:pt>
                <c:pt idx="127">
                  <c:v>0.54300000000000004</c:v>
                </c:pt>
                <c:pt idx="128">
                  <c:v>0.53900000000000003</c:v>
                </c:pt>
                <c:pt idx="129">
                  <c:v>0.53400000000000003</c:v>
                </c:pt>
                <c:pt idx="130">
                  <c:v>0.53</c:v>
                </c:pt>
                <c:pt idx="131">
                  <c:v>0.60299999999999998</c:v>
                </c:pt>
                <c:pt idx="132">
                  <c:v>0.59799999999999998</c:v>
                </c:pt>
                <c:pt idx="133">
                  <c:v>0.59299999999999997</c:v>
                </c:pt>
                <c:pt idx="134">
                  <c:v>0.58899999999999997</c:v>
                </c:pt>
                <c:pt idx="135">
                  <c:v>0.54800000000000004</c:v>
                </c:pt>
                <c:pt idx="136">
                  <c:v>0.54400000000000004</c:v>
                </c:pt>
                <c:pt idx="137">
                  <c:v>0.54</c:v>
                </c:pt>
                <c:pt idx="138">
                  <c:v>0.53600000000000003</c:v>
                </c:pt>
                <c:pt idx="139">
                  <c:v>0.53200000000000003</c:v>
                </c:pt>
                <c:pt idx="140">
                  <c:v>0.435</c:v>
                </c:pt>
                <c:pt idx="141">
                  <c:v>0.432</c:v>
                </c:pt>
                <c:pt idx="142">
                  <c:v>0.42899999999999999</c:v>
                </c:pt>
                <c:pt idx="143">
                  <c:v>0.42599999999999999</c:v>
                </c:pt>
                <c:pt idx="144">
                  <c:v>0.36099999999999999</c:v>
                </c:pt>
                <c:pt idx="145">
                  <c:v>0.35799999999999998</c:v>
                </c:pt>
                <c:pt idx="146">
                  <c:v>0.35599999999999998</c:v>
                </c:pt>
                <c:pt idx="147">
                  <c:v>0.35299999999999998</c:v>
                </c:pt>
                <c:pt idx="148">
                  <c:v>0.32400000000000001</c:v>
                </c:pt>
                <c:pt idx="149">
                  <c:v>0.32200000000000001</c:v>
                </c:pt>
                <c:pt idx="150">
                  <c:v>0.32</c:v>
                </c:pt>
                <c:pt idx="151">
                  <c:v>0.317</c:v>
                </c:pt>
                <c:pt idx="152">
                  <c:v>0.42699999999999999</c:v>
                </c:pt>
                <c:pt idx="153">
                  <c:v>0.42399999999999999</c:v>
                </c:pt>
                <c:pt idx="154">
                  <c:v>0.42199999999999999</c:v>
                </c:pt>
                <c:pt idx="155">
                  <c:v>0.41899999999999998</c:v>
                </c:pt>
                <c:pt idx="156">
                  <c:v>0.41599999999999998</c:v>
                </c:pt>
                <c:pt idx="157">
                  <c:v>0.38200000000000001</c:v>
                </c:pt>
                <c:pt idx="158">
                  <c:v>0.379</c:v>
                </c:pt>
                <c:pt idx="159">
                  <c:v>0.377</c:v>
                </c:pt>
                <c:pt idx="160">
                  <c:v>0.375</c:v>
                </c:pt>
                <c:pt idx="161">
                  <c:v>0.45900000000000002</c:v>
                </c:pt>
                <c:pt idx="162">
                  <c:v>0.45600000000000002</c:v>
                </c:pt>
                <c:pt idx="163">
                  <c:v>0.45300000000000001</c:v>
                </c:pt>
                <c:pt idx="164">
                  <c:v>0.45100000000000001</c:v>
                </c:pt>
                <c:pt idx="165">
                  <c:v>0.44800000000000001</c:v>
                </c:pt>
                <c:pt idx="166">
                  <c:v>0.33700000000000002</c:v>
                </c:pt>
                <c:pt idx="167">
                  <c:v>0.33500000000000002</c:v>
                </c:pt>
                <c:pt idx="168">
                  <c:v>0.33300000000000002</c:v>
                </c:pt>
                <c:pt idx="169">
                  <c:v>0.33100000000000002</c:v>
                </c:pt>
                <c:pt idx="170">
                  <c:v>0.182</c:v>
                </c:pt>
                <c:pt idx="171">
                  <c:v>0.18099999999999999</c:v>
                </c:pt>
                <c:pt idx="172">
                  <c:v>0.18</c:v>
                </c:pt>
                <c:pt idx="173">
                  <c:v>0.17899999999999999</c:v>
                </c:pt>
                <c:pt idx="174">
                  <c:v>0.17799999999999999</c:v>
                </c:pt>
                <c:pt idx="175">
                  <c:v>0.17699999999999999</c:v>
                </c:pt>
                <c:pt idx="176">
                  <c:v>0.17599999999999999</c:v>
                </c:pt>
                <c:pt idx="177">
                  <c:v>0.17499999999999999</c:v>
                </c:pt>
                <c:pt idx="178">
                  <c:v>0.17399999999999999</c:v>
                </c:pt>
                <c:pt idx="179">
                  <c:v>0.245</c:v>
                </c:pt>
                <c:pt idx="180">
                  <c:v>0.24399999999999999</c:v>
                </c:pt>
                <c:pt idx="181">
                  <c:v>0.24299999999999999</c:v>
                </c:pt>
                <c:pt idx="182">
                  <c:v>0.24099999999999999</c:v>
                </c:pt>
                <c:pt idx="183">
                  <c:v>0.24</c:v>
                </c:pt>
                <c:pt idx="184">
                  <c:v>0.23899999999999999</c:v>
                </c:pt>
                <c:pt idx="185">
                  <c:v>0.23699999999999999</c:v>
                </c:pt>
                <c:pt idx="186">
                  <c:v>0.23599999999999999</c:v>
                </c:pt>
                <c:pt idx="187">
                  <c:v>0.23499999999999999</c:v>
                </c:pt>
                <c:pt idx="188">
                  <c:v>0.39300000000000002</c:v>
                </c:pt>
                <c:pt idx="189">
                  <c:v>0.39100000000000001</c:v>
                </c:pt>
                <c:pt idx="190">
                  <c:v>0.38900000000000001</c:v>
                </c:pt>
                <c:pt idx="191">
                  <c:v>0.38700000000000001</c:v>
                </c:pt>
                <c:pt idx="192">
                  <c:v>0.44700000000000001</c:v>
                </c:pt>
                <c:pt idx="193">
                  <c:v>0.44500000000000001</c:v>
                </c:pt>
                <c:pt idx="194">
                  <c:v>0.443</c:v>
                </c:pt>
                <c:pt idx="195">
                  <c:v>0.441</c:v>
                </c:pt>
                <c:pt idx="196">
                  <c:v>0.55600000000000005</c:v>
                </c:pt>
                <c:pt idx="197">
                  <c:v>0.55300000000000005</c:v>
                </c:pt>
                <c:pt idx="198">
                  <c:v>0.55000000000000004</c:v>
                </c:pt>
                <c:pt idx="199">
                  <c:v>0.54700000000000004</c:v>
                </c:pt>
                <c:pt idx="200">
                  <c:v>0.625</c:v>
                </c:pt>
                <c:pt idx="201">
                  <c:v>0.621</c:v>
                </c:pt>
                <c:pt idx="202">
                  <c:v>0.61799999999999999</c:v>
                </c:pt>
                <c:pt idx="203">
                  <c:v>0.61499999999999999</c:v>
                </c:pt>
                <c:pt idx="204">
                  <c:v>0.61199999999999999</c:v>
                </c:pt>
                <c:pt idx="205">
                  <c:v>0.38</c:v>
                </c:pt>
                <c:pt idx="206">
                  <c:v>0.378</c:v>
                </c:pt>
                <c:pt idx="207">
                  <c:v>0.376</c:v>
                </c:pt>
                <c:pt idx="208">
                  <c:v>0.375</c:v>
                </c:pt>
                <c:pt idx="209">
                  <c:v>0.253</c:v>
                </c:pt>
                <c:pt idx="210">
                  <c:v>0.252</c:v>
                </c:pt>
                <c:pt idx="211">
                  <c:v>0.251</c:v>
                </c:pt>
                <c:pt idx="212">
                  <c:v>0.25</c:v>
                </c:pt>
                <c:pt idx="213">
                  <c:v>0.14499999999999999</c:v>
                </c:pt>
                <c:pt idx="214">
                  <c:v>0.14399999999999999</c:v>
                </c:pt>
                <c:pt idx="215">
                  <c:v>0.14399999999999999</c:v>
                </c:pt>
                <c:pt idx="216">
                  <c:v>0.14299999999999999</c:v>
                </c:pt>
                <c:pt idx="217">
                  <c:v>0.14199999999999999</c:v>
                </c:pt>
                <c:pt idx="218">
                  <c:v>0.30199999999999999</c:v>
                </c:pt>
                <c:pt idx="219">
                  <c:v>0.30099999999999999</c:v>
                </c:pt>
                <c:pt idx="220">
                  <c:v>0.3</c:v>
                </c:pt>
                <c:pt idx="221">
                  <c:v>0.29799999999999999</c:v>
                </c:pt>
                <c:pt idx="222">
                  <c:v>0.35499999999999998</c:v>
                </c:pt>
                <c:pt idx="223">
                  <c:v>0.35399999999999998</c:v>
                </c:pt>
                <c:pt idx="224">
                  <c:v>0.35199999999999998</c:v>
                </c:pt>
                <c:pt idx="225">
                  <c:v>0.35099999999999998</c:v>
                </c:pt>
                <c:pt idx="226">
                  <c:v>0.34899999999999998</c:v>
                </c:pt>
                <c:pt idx="227">
                  <c:v>0.45800000000000002</c:v>
                </c:pt>
                <c:pt idx="228">
                  <c:v>0.45600000000000002</c:v>
                </c:pt>
                <c:pt idx="229">
                  <c:v>0.45400000000000001</c:v>
                </c:pt>
                <c:pt idx="230">
                  <c:v>0.45200000000000001</c:v>
                </c:pt>
                <c:pt idx="231">
                  <c:v>0.34100000000000003</c:v>
                </c:pt>
                <c:pt idx="232">
                  <c:v>0.34</c:v>
                </c:pt>
                <c:pt idx="233">
                  <c:v>0.33900000000000002</c:v>
                </c:pt>
                <c:pt idx="234">
                  <c:v>0.33700000000000002</c:v>
                </c:pt>
                <c:pt idx="235">
                  <c:v>0.33600000000000002</c:v>
                </c:pt>
                <c:pt idx="236">
                  <c:v>0.29599999999999999</c:v>
                </c:pt>
                <c:pt idx="237">
                  <c:v>0.29499999999999998</c:v>
                </c:pt>
                <c:pt idx="238">
                  <c:v>0.29399999999999998</c:v>
                </c:pt>
                <c:pt idx="239">
                  <c:v>0.29199999999999998</c:v>
                </c:pt>
                <c:pt idx="240">
                  <c:v>0.15</c:v>
                </c:pt>
                <c:pt idx="241">
                  <c:v>0.14899999999999999</c:v>
                </c:pt>
                <c:pt idx="242">
                  <c:v>0.14799999999999999</c:v>
                </c:pt>
                <c:pt idx="243">
                  <c:v>0.14799999999999999</c:v>
                </c:pt>
                <c:pt idx="244">
                  <c:v>0.11</c:v>
                </c:pt>
                <c:pt idx="245">
                  <c:v>0.11</c:v>
                </c:pt>
                <c:pt idx="246">
                  <c:v>0.109</c:v>
                </c:pt>
                <c:pt idx="247">
                  <c:v>0.109</c:v>
                </c:pt>
                <c:pt idx="248">
                  <c:v>0.108</c:v>
                </c:pt>
                <c:pt idx="249">
                  <c:v>0.2</c:v>
                </c:pt>
                <c:pt idx="250">
                  <c:v>0.2</c:v>
                </c:pt>
                <c:pt idx="251">
                  <c:v>0.19900000000000001</c:v>
                </c:pt>
                <c:pt idx="252">
                  <c:v>0.19800000000000001</c:v>
                </c:pt>
                <c:pt idx="253">
                  <c:v>0.19700000000000001</c:v>
                </c:pt>
                <c:pt idx="254">
                  <c:v>0.19600000000000001</c:v>
                </c:pt>
                <c:pt idx="255">
                  <c:v>0.19600000000000001</c:v>
                </c:pt>
                <c:pt idx="256">
                  <c:v>0.19500000000000001</c:v>
                </c:pt>
                <c:pt idx="257">
                  <c:v>0.45900000000000002</c:v>
                </c:pt>
                <c:pt idx="258">
                  <c:v>0.45700000000000002</c:v>
                </c:pt>
                <c:pt idx="259">
                  <c:v>0.45500000000000002</c:v>
                </c:pt>
                <c:pt idx="260">
                  <c:v>0.45300000000000001</c:v>
                </c:pt>
                <c:pt idx="261">
                  <c:v>0.55900000000000005</c:v>
                </c:pt>
                <c:pt idx="262">
                  <c:v>0.55700000000000005</c:v>
                </c:pt>
                <c:pt idx="263">
                  <c:v>0.55500000000000005</c:v>
                </c:pt>
                <c:pt idx="264">
                  <c:v>0.55300000000000005</c:v>
                </c:pt>
                <c:pt idx="265">
                  <c:v>0.55000000000000004</c:v>
                </c:pt>
                <c:pt idx="266">
                  <c:v>0.77</c:v>
                </c:pt>
                <c:pt idx="267">
                  <c:v>0.76700000000000002</c:v>
                </c:pt>
                <c:pt idx="268">
                  <c:v>0.76400000000000001</c:v>
                </c:pt>
                <c:pt idx="269">
                  <c:v>0.76200000000000001</c:v>
                </c:pt>
                <c:pt idx="270">
                  <c:v>0.72199999999999998</c:v>
                </c:pt>
                <c:pt idx="271">
                  <c:v>0.71899999999999997</c:v>
                </c:pt>
                <c:pt idx="272">
                  <c:v>0.71599999999999997</c:v>
                </c:pt>
                <c:pt idx="273">
                  <c:v>0.71399999999999997</c:v>
                </c:pt>
                <c:pt idx="274">
                  <c:v>0.71099999999999997</c:v>
                </c:pt>
                <c:pt idx="275">
                  <c:v>0.81</c:v>
                </c:pt>
                <c:pt idx="276">
                  <c:v>0.80700000000000005</c:v>
                </c:pt>
                <c:pt idx="277">
                  <c:v>0.80500000000000005</c:v>
                </c:pt>
                <c:pt idx="278">
                  <c:v>0.80200000000000005</c:v>
                </c:pt>
                <c:pt idx="279">
                  <c:v>0.79900000000000004</c:v>
                </c:pt>
                <c:pt idx="280">
                  <c:v>0.79600000000000004</c:v>
                </c:pt>
                <c:pt idx="281">
                  <c:v>0.79300000000000004</c:v>
                </c:pt>
                <c:pt idx="282">
                  <c:v>0.79</c:v>
                </c:pt>
                <c:pt idx="283">
                  <c:v>0.78700000000000003</c:v>
                </c:pt>
                <c:pt idx="284">
                  <c:v>0.78500000000000003</c:v>
                </c:pt>
                <c:pt idx="285">
                  <c:v>0.78200000000000003</c:v>
                </c:pt>
                <c:pt idx="286">
                  <c:v>0.77900000000000003</c:v>
                </c:pt>
                <c:pt idx="287">
                  <c:v>0.77700000000000002</c:v>
                </c:pt>
                <c:pt idx="288">
                  <c:v>0.79100000000000004</c:v>
                </c:pt>
                <c:pt idx="289">
                  <c:v>0.78800000000000003</c:v>
                </c:pt>
                <c:pt idx="290">
                  <c:v>0.78600000000000003</c:v>
                </c:pt>
                <c:pt idx="291">
                  <c:v>0.78300000000000003</c:v>
                </c:pt>
                <c:pt idx="292">
                  <c:v>0.79400000000000004</c:v>
                </c:pt>
                <c:pt idx="293">
                  <c:v>0.79100000000000004</c:v>
                </c:pt>
                <c:pt idx="294">
                  <c:v>0.7890000000000000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4A0B-4F0F-A94A-9E4D16C1C1B1}"/>
            </c:ext>
          </c:extLst>
        </c:ser>
        <c:ser>
          <c:idx val="1"/>
          <c:order val="2"/>
          <c:tx>
            <c:strRef>
              <c:f>股票择时信号!$AC$7</c:f>
              <c:strCache>
                <c:ptCount val="1"/>
                <c:pt idx="0">
                  <c:v>高频经济指标的环比变化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5</c:f>
              <c:numCache>
                <c:formatCode>yyyy\-mm\-dd</c:formatCode>
                <c:ptCount val="295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</c:numCache>
            </c:numRef>
          </c:cat>
          <c:val>
            <c:numRef>
              <c:f>股票择时信号!$AC$11:$AC$305</c:f>
              <c:numCache>
                <c:formatCode>0.0%</c:formatCode>
                <c:ptCount val="295"/>
                <c:pt idx="0">
                  <c:v>1</c:v>
                </c:pt>
                <c:pt idx="1">
                  <c:v>0</c:v>
                </c:pt>
                <c:pt idx="2">
                  <c:v>0.5</c:v>
                </c:pt>
                <c:pt idx="3">
                  <c:v>0.33300000000000002</c:v>
                </c:pt>
                <c:pt idx="4">
                  <c:v>0.25</c:v>
                </c:pt>
                <c:pt idx="5">
                  <c:v>1</c:v>
                </c:pt>
                <c:pt idx="6">
                  <c:v>0.83299999999999996</c:v>
                </c:pt>
                <c:pt idx="7">
                  <c:v>1</c:v>
                </c:pt>
                <c:pt idx="8">
                  <c:v>1</c:v>
                </c:pt>
                <c:pt idx="9">
                  <c:v>0.33300000000000002</c:v>
                </c:pt>
                <c:pt idx="10">
                  <c:v>0.5</c:v>
                </c:pt>
                <c:pt idx="11">
                  <c:v>0</c:v>
                </c:pt>
                <c:pt idx="12">
                  <c:v>0</c:v>
                </c:pt>
                <c:pt idx="13">
                  <c:v>7.5999999999999998E-2</c:v>
                </c:pt>
                <c:pt idx="14">
                  <c:v>0</c:v>
                </c:pt>
                <c:pt idx="15">
                  <c:v>0.26600000000000001</c:v>
                </c:pt>
                <c:pt idx="16">
                  <c:v>0.125</c:v>
                </c:pt>
                <c:pt idx="17">
                  <c:v>0.41099999999999998</c:v>
                </c:pt>
                <c:pt idx="18">
                  <c:v>0.83299999999999996</c:v>
                </c:pt>
                <c:pt idx="19">
                  <c:v>0.42099999999999999</c:v>
                </c:pt>
                <c:pt idx="20">
                  <c:v>0.3</c:v>
                </c:pt>
                <c:pt idx="21">
                  <c:v>0.38</c:v>
                </c:pt>
                <c:pt idx="22">
                  <c:v>0</c:v>
                </c:pt>
                <c:pt idx="23">
                  <c:v>0.26</c:v>
                </c:pt>
                <c:pt idx="24">
                  <c:v>0.54100000000000004</c:v>
                </c:pt>
                <c:pt idx="25">
                  <c:v>0.76</c:v>
                </c:pt>
                <c:pt idx="26">
                  <c:v>0.5</c:v>
                </c:pt>
                <c:pt idx="27">
                  <c:v>0.222</c:v>
                </c:pt>
                <c:pt idx="28">
                  <c:v>0.107</c:v>
                </c:pt>
                <c:pt idx="29">
                  <c:v>0</c:v>
                </c:pt>
                <c:pt idx="30">
                  <c:v>0.3</c:v>
                </c:pt>
                <c:pt idx="31">
                  <c:v>0.25800000000000001</c:v>
                </c:pt>
                <c:pt idx="32">
                  <c:v>0.187</c:v>
                </c:pt>
                <c:pt idx="33">
                  <c:v>0.09</c:v>
                </c:pt>
                <c:pt idx="34">
                  <c:v>5.8000000000000003E-2</c:v>
                </c:pt>
                <c:pt idx="35">
                  <c:v>8.5000000000000006E-2</c:v>
                </c:pt>
                <c:pt idx="36">
                  <c:v>5.5E-2</c:v>
                </c:pt>
                <c:pt idx="37">
                  <c:v>0.29699999999999999</c:v>
                </c:pt>
                <c:pt idx="38">
                  <c:v>0.57799999999999996</c:v>
                </c:pt>
                <c:pt idx="39">
                  <c:v>0.61499999999999999</c:v>
                </c:pt>
                <c:pt idx="40">
                  <c:v>0.75</c:v>
                </c:pt>
                <c:pt idx="41">
                  <c:v>0.75600000000000001</c:v>
                </c:pt>
                <c:pt idx="42">
                  <c:v>0.83299999999999996</c:v>
                </c:pt>
                <c:pt idx="43">
                  <c:v>0.88300000000000001</c:v>
                </c:pt>
                <c:pt idx="44">
                  <c:v>0.25</c:v>
                </c:pt>
                <c:pt idx="45">
                  <c:v>4.3999999999999997E-2</c:v>
                </c:pt>
                <c:pt idx="46">
                  <c:v>0</c:v>
                </c:pt>
                <c:pt idx="47">
                  <c:v>2.1000000000000001E-2</c:v>
                </c:pt>
                <c:pt idx="48">
                  <c:v>0.375</c:v>
                </c:pt>
                <c:pt idx="49">
                  <c:v>0.65300000000000002</c:v>
                </c:pt>
                <c:pt idx="50">
                  <c:v>0.57999999999999996</c:v>
                </c:pt>
                <c:pt idx="51">
                  <c:v>0.43099999999999999</c:v>
                </c:pt>
                <c:pt idx="52">
                  <c:v>0.53800000000000003</c:v>
                </c:pt>
                <c:pt idx="53">
                  <c:v>0.433</c:v>
                </c:pt>
                <c:pt idx="54">
                  <c:v>0.55500000000000005</c:v>
                </c:pt>
                <c:pt idx="55">
                  <c:v>0.34499999999999997</c:v>
                </c:pt>
                <c:pt idx="56">
                  <c:v>0.30299999999999999</c:v>
                </c:pt>
                <c:pt idx="57">
                  <c:v>0.52600000000000002</c:v>
                </c:pt>
                <c:pt idx="58">
                  <c:v>0.5</c:v>
                </c:pt>
                <c:pt idx="59">
                  <c:v>0.47399999999999998</c:v>
                </c:pt>
                <c:pt idx="60">
                  <c:v>0.45</c:v>
                </c:pt>
                <c:pt idx="61">
                  <c:v>0.18</c:v>
                </c:pt>
                <c:pt idx="62">
                  <c:v>0.14499999999999999</c:v>
                </c:pt>
                <c:pt idx="63">
                  <c:v>0.17399999999999999</c:v>
                </c:pt>
                <c:pt idx="64">
                  <c:v>0.14000000000000001</c:v>
                </c:pt>
                <c:pt idx="65">
                  <c:v>0.2</c:v>
                </c:pt>
                <c:pt idx="66">
                  <c:v>0.378</c:v>
                </c:pt>
                <c:pt idx="67">
                  <c:v>0.52200000000000002</c:v>
                </c:pt>
                <c:pt idx="68">
                  <c:v>0.25</c:v>
                </c:pt>
                <c:pt idx="69">
                  <c:v>0.52100000000000002</c:v>
                </c:pt>
                <c:pt idx="70">
                  <c:v>0.64200000000000002</c:v>
                </c:pt>
                <c:pt idx="71">
                  <c:v>0.36599999999999999</c:v>
                </c:pt>
                <c:pt idx="72">
                  <c:v>0.56899999999999995</c:v>
                </c:pt>
                <c:pt idx="73">
                  <c:v>0.28699999999999998</c:v>
                </c:pt>
                <c:pt idx="74">
                  <c:v>6.7000000000000004E-2</c:v>
                </c:pt>
                <c:pt idx="75">
                  <c:v>0.21299999999999999</c:v>
                </c:pt>
                <c:pt idx="76">
                  <c:v>0.48599999999999999</c:v>
                </c:pt>
                <c:pt idx="77">
                  <c:v>0.67500000000000004</c:v>
                </c:pt>
                <c:pt idx="78">
                  <c:v>0.65300000000000002</c:v>
                </c:pt>
                <c:pt idx="79">
                  <c:v>0.63200000000000001</c:v>
                </c:pt>
                <c:pt idx="80">
                  <c:v>0.32500000000000001</c:v>
                </c:pt>
                <c:pt idx="81">
                  <c:v>0.13500000000000001</c:v>
                </c:pt>
                <c:pt idx="82">
                  <c:v>0.41399999999999998</c:v>
                </c:pt>
                <c:pt idx="83">
                  <c:v>0.216</c:v>
                </c:pt>
                <c:pt idx="84">
                  <c:v>0.51100000000000001</c:v>
                </c:pt>
                <c:pt idx="85">
                  <c:v>0.42299999999999999</c:v>
                </c:pt>
                <c:pt idx="86">
                  <c:v>0.372</c:v>
                </c:pt>
                <c:pt idx="87">
                  <c:v>0.39</c:v>
                </c:pt>
                <c:pt idx="88">
                  <c:v>0.318</c:v>
                </c:pt>
                <c:pt idx="89">
                  <c:v>0.57299999999999995</c:v>
                </c:pt>
                <c:pt idx="90">
                  <c:v>0.34399999999999997</c:v>
                </c:pt>
                <c:pt idx="91">
                  <c:v>0.626</c:v>
                </c:pt>
                <c:pt idx="92">
                  <c:v>0.55400000000000005</c:v>
                </c:pt>
                <c:pt idx="93">
                  <c:v>0.376</c:v>
                </c:pt>
                <c:pt idx="94">
                  <c:v>0.26500000000000001</c:v>
                </c:pt>
                <c:pt idx="95">
                  <c:v>0.30499999999999999</c:v>
                </c:pt>
                <c:pt idx="96">
                  <c:v>0.54100000000000004</c:v>
                </c:pt>
                <c:pt idx="97">
                  <c:v>0.52500000000000002</c:v>
                </c:pt>
                <c:pt idx="98">
                  <c:v>0.622</c:v>
                </c:pt>
                <c:pt idx="99">
                  <c:v>0.434</c:v>
                </c:pt>
                <c:pt idx="100">
                  <c:v>0.14000000000000001</c:v>
                </c:pt>
                <c:pt idx="101">
                  <c:v>6.9000000000000006E-2</c:v>
                </c:pt>
                <c:pt idx="102">
                  <c:v>4.9000000000000002E-2</c:v>
                </c:pt>
                <c:pt idx="103">
                  <c:v>8.6999999999999994E-2</c:v>
                </c:pt>
                <c:pt idx="104">
                  <c:v>6.7000000000000004E-2</c:v>
                </c:pt>
                <c:pt idx="105">
                  <c:v>0.14199999999999999</c:v>
                </c:pt>
                <c:pt idx="106">
                  <c:v>0.32</c:v>
                </c:pt>
                <c:pt idx="107">
                  <c:v>0.308</c:v>
                </c:pt>
                <c:pt idx="108">
                  <c:v>0.70299999999999996</c:v>
                </c:pt>
                <c:pt idx="109">
                  <c:v>0.85299999999999998</c:v>
                </c:pt>
                <c:pt idx="110">
                  <c:v>0.83599999999999997</c:v>
                </c:pt>
                <c:pt idx="111">
                  <c:v>0.81</c:v>
                </c:pt>
                <c:pt idx="112">
                  <c:v>0.84799999999999998</c:v>
                </c:pt>
                <c:pt idx="113">
                  <c:v>0.65400000000000003</c:v>
                </c:pt>
                <c:pt idx="114">
                  <c:v>0.64</c:v>
                </c:pt>
                <c:pt idx="115">
                  <c:v>0.6</c:v>
                </c:pt>
                <c:pt idx="116">
                  <c:v>0.38700000000000001</c:v>
                </c:pt>
                <c:pt idx="117">
                  <c:v>0.32400000000000001</c:v>
                </c:pt>
                <c:pt idx="118">
                  <c:v>0.313</c:v>
                </c:pt>
                <c:pt idx="119">
                  <c:v>0.53700000000000003</c:v>
                </c:pt>
                <c:pt idx="120">
                  <c:v>0.40799999999999997</c:v>
                </c:pt>
                <c:pt idx="121">
                  <c:v>0.74299999999999999</c:v>
                </c:pt>
                <c:pt idx="122">
                  <c:v>0.79500000000000004</c:v>
                </c:pt>
                <c:pt idx="123">
                  <c:v>0.54400000000000004</c:v>
                </c:pt>
                <c:pt idx="124">
                  <c:v>0.20100000000000001</c:v>
                </c:pt>
                <c:pt idx="125">
                  <c:v>0.17599999999999999</c:v>
                </c:pt>
                <c:pt idx="126">
                  <c:v>4.7E-2</c:v>
                </c:pt>
                <c:pt idx="127">
                  <c:v>0.157</c:v>
                </c:pt>
                <c:pt idx="128">
                  <c:v>0.70299999999999996</c:v>
                </c:pt>
                <c:pt idx="129">
                  <c:v>0.83699999999999997</c:v>
                </c:pt>
                <c:pt idx="130">
                  <c:v>0.69199999999999995</c:v>
                </c:pt>
                <c:pt idx="131">
                  <c:v>0.28199999999999997</c:v>
                </c:pt>
                <c:pt idx="132">
                  <c:v>0.128</c:v>
                </c:pt>
                <c:pt idx="133">
                  <c:v>4.4999999999999998E-2</c:v>
                </c:pt>
                <c:pt idx="134">
                  <c:v>0.27600000000000002</c:v>
                </c:pt>
                <c:pt idx="135">
                  <c:v>0.622</c:v>
                </c:pt>
                <c:pt idx="136">
                  <c:v>0.63900000000000001</c:v>
                </c:pt>
                <c:pt idx="137">
                  <c:v>0.28399999999999997</c:v>
                </c:pt>
                <c:pt idx="138">
                  <c:v>0.224</c:v>
                </c:pt>
                <c:pt idx="139">
                  <c:v>0.20100000000000001</c:v>
                </c:pt>
                <c:pt idx="140">
                  <c:v>0.307</c:v>
                </c:pt>
                <c:pt idx="141">
                  <c:v>0.503</c:v>
                </c:pt>
                <c:pt idx="142">
                  <c:v>0.88</c:v>
                </c:pt>
                <c:pt idx="143">
                  <c:v>0.81100000000000005</c:v>
                </c:pt>
                <c:pt idx="144">
                  <c:v>0.65900000000000003</c:v>
                </c:pt>
                <c:pt idx="145">
                  <c:v>0.51700000000000002</c:v>
                </c:pt>
                <c:pt idx="146">
                  <c:v>0.13</c:v>
                </c:pt>
                <c:pt idx="147">
                  <c:v>0.72099999999999997</c:v>
                </c:pt>
                <c:pt idx="148">
                  <c:v>0.86399999999999999</c:v>
                </c:pt>
                <c:pt idx="149">
                  <c:v>0.89900000000000002</c:v>
                </c:pt>
                <c:pt idx="150">
                  <c:v>0.82599999999999996</c:v>
                </c:pt>
                <c:pt idx="151">
                  <c:v>0.50900000000000001</c:v>
                </c:pt>
                <c:pt idx="152">
                  <c:v>0.14399999999999999</c:v>
                </c:pt>
                <c:pt idx="153">
                  <c:v>0.248</c:v>
                </c:pt>
                <c:pt idx="154">
                  <c:v>0.27200000000000002</c:v>
                </c:pt>
                <c:pt idx="155">
                  <c:v>0.54800000000000004</c:v>
                </c:pt>
                <c:pt idx="156">
                  <c:v>0.55700000000000005</c:v>
                </c:pt>
                <c:pt idx="157">
                  <c:v>0.34300000000000003</c:v>
                </c:pt>
                <c:pt idx="158">
                  <c:v>0.51800000000000002</c:v>
                </c:pt>
                <c:pt idx="159">
                  <c:v>0.23200000000000001</c:v>
                </c:pt>
                <c:pt idx="160">
                  <c:v>0.33100000000000002</c:v>
                </c:pt>
                <c:pt idx="161">
                  <c:v>0.60199999999999998</c:v>
                </c:pt>
                <c:pt idx="162">
                  <c:v>0.61099999999999999</c:v>
                </c:pt>
                <c:pt idx="163">
                  <c:v>0.63100000000000001</c:v>
                </c:pt>
                <c:pt idx="164">
                  <c:v>0.71299999999999997</c:v>
                </c:pt>
                <c:pt idx="165">
                  <c:v>0.49</c:v>
                </c:pt>
                <c:pt idx="166">
                  <c:v>0.34899999999999998</c:v>
                </c:pt>
                <c:pt idx="167">
                  <c:v>0.28699999999999998</c:v>
                </c:pt>
                <c:pt idx="168">
                  <c:v>0.36299999999999999</c:v>
                </c:pt>
                <c:pt idx="169">
                  <c:v>0.38400000000000001</c:v>
                </c:pt>
                <c:pt idx="170">
                  <c:v>0.57599999999999996</c:v>
                </c:pt>
                <c:pt idx="171">
                  <c:v>0.61399999999999999</c:v>
                </c:pt>
                <c:pt idx="172">
                  <c:v>0.308</c:v>
                </c:pt>
                <c:pt idx="173">
                  <c:v>0.38100000000000001</c:v>
                </c:pt>
                <c:pt idx="174">
                  <c:v>0.77500000000000002</c:v>
                </c:pt>
                <c:pt idx="175">
                  <c:v>0.54200000000000004</c:v>
                </c:pt>
                <c:pt idx="176">
                  <c:v>0.57899999999999996</c:v>
                </c:pt>
                <c:pt idx="177">
                  <c:v>0.68899999999999995</c:v>
                </c:pt>
                <c:pt idx="178">
                  <c:v>0.123</c:v>
                </c:pt>
                <c:pt idx="179">
                  <c:v>0.43</c:v>
                </c:pt>
                <c:pt idx="180">
                  <c:v>0.57699999999999996</c:v>
                </c:pt>
                <c:pt idx="181">
                  <c:v>0.71199999999999997</c:v>
                </c:pt>
                <c:pt idx="182">
                  <c:v>0.63100000000000001</c:v>
                </c:pt>
                <c:pt idx="183">
                  <c:v>0.36599999999999999</c:v>
                </c:pt>
                <c:pt idx="184">
                  <c:v>0.34699999999999998</c:v>
                </c:pt>
                <c:pt idx="185">
                  <c:v>0.21</c:v>
                </c:pt>
                <c:pt idx="186">
                  <c:v>0.60699999999999998</c:v>
                </c:pt>
                <c:pt idx="187">
                  <c:v>0.56599999999999995</c:v>
                </c:pt>
                <c:pt idx="188">
                  <c:v>0.436</c:v>
                </c:pt>
                <c:pt idx="189">
                  <c:v>0.34300000000000003</c:v>
                </c:pt>
                <c:pt idx="190">
                  <c:v>0.53600000000000003</c:v>
                </c:pt>
                <c:pt idx="191">
                  <c:v>0.54400000000000004</c:v>
                </c:pt>
                <c:pt idx="192">
                  <c:v>0.56200000000000006</c:v>
                </c:pt>
                <c:pt idx="193">
                  <c:v>0.53800000000000003</c:v>
                </c:pt>
                <c:pt idx="194">
                  <c:v>0.30399999999999999</c:v>
                </c:pt>
                <c:pt idx="195">
                  <c:v>0.66600000000000004</c:v>
                </c:pt>
                <c:pt idx="196">
                  <c:v>0.68300000000000005</c:v>
                </c:pt>
                <c:pt idx="197">
                  <c:v>0.73</c:v>
                </c:pt>
                <c:pt idx="198">
                  <c:v>0.71699999999999997</c:v>
                </c:pt>
                <c:pt idx="199">
                  <c:v>0.66800000000000004</c:v>
                </c:pt>
                <c:pt idx="200">
                  <c:v>0.26500000000000001</c:v>
                </c:pt>
                <c:pt idx="201">
                  <c:v>0.189</c:v>
                </c:pt>
                <c:pt idx="202">
                  <c:v>0.13800000000000001</c:v>
                </c:pt>
                <c:pt idx="203">
                  <c:v>0.16200000000000001</c:v>
                </c:pt>
                <c:pt idx="204">
                  <c:v>0.47499999999999998</c:v>
                </c:pt>
                <c:pt idx="205">
                  <c:v>0.624</c:v>
                </c:pt>
                <c:pt idx="206">
                  <c:v>0.67900000000000005</c:v>
                </c:pt>
                <c:pt idx="207">
                  <c:v>0.39600000000000002</c:v>
                </c:pt>
                <c:pt idx="208">
                  <c:v>0.25</c:v>
                </c:pt>
                <c:pt idx="209">
                  <c:v>0.41599999999999998</c:v>
                </c:pt>
                <c:pt idx="210">
                  <c:v>0.26600000000000001</c:v>
                </c:pt>
                <c:pt idx="211">
                  <c:v>0.49199999999999999</c:v>
                </c:pt>
                <c:pt idx="212">
                  <c:v>0.41</c:v>
                </c:pt>
                <c:pt idx="213">
                  <c:v>0.50700000000000001</c:v>
                </c:pt>
                <c:pt idx="214">
                  <c:v>0.70499999999999996</c:v>
                </c:pt>
                <c:pt idx="215">
                  <c:v>0.52</c:v>
                </c:pt>
                <c:pt idx="216">
                  <c:v>0.625</c:v>
                </c:pt>
                <c:pt idx="217">
                  <c:v>0.45100000000000001</c:v>
                </c:pt>
                <c:pt idx="218">
                  <c:v>0.29799999999999999</c:v>
                </c:pt>
                <c:pt idx="219">
                  <c:v>0.39700000000000002</c:v>
                </c:pt>
                <c:pt idx="220">
                  <c:v>0.4</c:v>
                </c:pt>
                <c:pt idx="221">
                  <c:v>0.40200000000000002</c:v>
                </c:pt>
                <c:pt idx="222">
                  <c:v>0.36899999999999999</c:v>
                </c:pt>
                <c:pt idx="223">
                  <c:v>0.38500000000000001</c:v>
                </c:pt>
                <c:pt idx="224">
                  <c:v>0.48599999999999999</c:v>
                </c:pt>
                <c:pt idx="225">
                  <c:v>0.36399999999999999</c:v>
                </c:pt>
                <c:pt idx="226">
                  <c:v>0.65</c:v>
                </c:pt>
                <c:pt idx="227">
                  <c:v>0.76200000000000001</c:v>
                </c:pt>
                <c:pt idx="228">
                  <c:v>0.57799999999999996</c:v>
                </c:pt>
                <c:pt idx="229">
                  <c:v>0.59299999999999997</c:v>
                </c:pt>
                <c:pt idx="230">
                  <c:v>0.45200000000000001</c:v>
                </c:pt>
                <c:pt idx="231">
                  <c:v>0.22500000000000001</c:v>
                </c:pt>
                <c:pt idx="232">
                  <c:v>0.25</c:v>
                </c:pt>
                <c:pt idx="233">
                  <c:v>0.51900000000000002</c:v>
                </c:pt>
                <c:pt idx="234">
                  <c:v>0.76</c:v>
                </c:pt>
                <c:pt idx="235">
                  <c:v>0.69299999999999995</c:v>
                </c:pt>
                <c:pt idx="236">
                  <c:v>0.70299999999999996</c:v>
                </c:pt>
                <c:pt idx="237">
                  <c:v>0.53500000000000003</c:v>
                </c:pt>
                <c:pt idx="238">
                  <c:v>0.247</c:v>
                </c:pt>
                <c:pt idx="239">
                  <c:v>0.376</c:v>
                </c:pt>
                <c:pt idx="240">
                  <c:v>0.50800000000000001</c:v>
                </c:pt>
                <c:pt idx="241">
                  <c:v>0.443</c:v>
                </c:pt>
                <c:pt idx="242">
                  <c:v>0.442</c:v>
                </c:pt>
                <c:pt idx="243">
                  <c:v>0.40699999999999997</c:v>
                </c:pt>
                <c:pt idx="244">
                  <c:v>0.47899999999999998</c:v>
                </c:pt>
                <c:pt idx="245">
                  <c:v>0.49299999999999999</c:v>
                </c:pt>
                <c:pt idx="246">
                  <c:v>0.58499999999999996</c:v>
                </c:pt>
                <c:pt idx="247">
                  <c:v>0.76500000000000001</c:v>
                </c:pt>
                <c:pt idx="248">
                  <c:v>0.71699999999999997</c:v>
                </c:pt>
                <c:pt idx="249">
                  <c:v>0.77100000000000002</c:v>
                </c:pt>
                <c:pt idx="250">
                  <c:v>0.51600000000000001</c:v>
                </c:pt>
                <c:pt idx="251">
                  <c:v>0.19900000000000001</c:v>
                </c:pt>
                <c:pt idx="252">
                  <c:v>0.74199999999999999</c:v>
                </c:pt>
                <c:pt idx="253">
                  <c:v>0.80200000000000005</c:v>
                </c:pt>
                <c:pt idx="254">
                  <c:v>0.85799999999999998</c:v>
                </c:pt>
                <c:pt idx="255">
                  <c:v>0.77200000000000002</c:v>
                </c:pt>
                <c:pt idx="256">
                  <c:v>0.20699999999999999</c:v>
                </c:pt>
                <c:pt idx="257">
                  <c:v>0.11600000000000001</c:v>
                </c:pt>
                <c:pt idx="258">
                  <c:v>0.112</c:v>
                </c:pt>
                <c:pt idx="259">
                  <c:v>0.22</c:v>
                </c:pt>
                <c:pt idx="260">
                  <c:v>0.30299999999999999</c:v>
                </c:pt>
                <c:pt idx="261">
                  <c:v>0.56699999999999995</c:v>
                </c:pt>
                <c:pt idx="262">
                  <c:v>0.53</c:v>
                </c:pt>
                <c:pt idx="263">
                  <c:v>0.59299999999999997</c:v>
                </c:pt>
                <c:pt idx="264">
                  <c:v>0.52200000000000002</c:v>
                </c:pt>
                <c:pt idx="265">
                  <c:v>0.53200000000000003</c:v>
                </c:pt>
                <c:pt idx="266">
                  <c:v>0.66900000000000004</c:v>
                </c:pt>
                <c:pt idx="267">
                  <c:v>0.56499999999999995</c:v>
                </c:pt>
                <c:pt idx="268">
                  <c:v>0.61499999999999999</c:v>
                </c:pt>
                <c:pt idx="269">
                  <c:v>0.53900000000000003</c:v>
                </c:pt>
                <c:pt idx="270">
                  <c:v>0.34399999999999997</c:v>
                </c:pt>
                <c:pt idx="271">
                  <c:v>0.58299999999999996</c:v>
                </c:pt>
                <c:pt idx="272">
                  <c:v>0.375</c:v>
                </c:pt>
                <c:pt idx="273">
                  <c:v>0.35799999999999998</c:v>
                </c:pt>
                <c:pt idx="274">
                  <c:v>0.33900000000000002</c:v>
                </c:pt>
                <c:pt idx="275">
                  <c:v>0.28699999999999998</c:v>
                </c:pt>
                <c:pt idx="276">
                  <c:v>0.5</c:v>
                </c:pt>
                <c:pt idx="277">
                  <c:v>0.29199999999999998</c:v>
                </c:pt>
                <c:pt idx="278">
                  <c:v>0.56799999999999995</c:v>
                </c:pt>
                <c:pt idx="279">
                  <c:v>0.78800000000000003</c:v>
                </c:pt>
                <c:pt idx="280">
                  <c:v>0.57099999999999995</c:v>
                </c:pt>
                <c:pt idx="281">
                  <c:v>0.66900000000000004</c:v>
                </c:pt>
                <c:pt idx="282">
                  <c:v>0.47499999999999998</c:v>
                </c:pt>
                <c:pt idx="283">
                  <c:v>0.16900000000000001</c:v>
                </c:pt>
                <c:pt idx="284">
                  <c:v>0.30199999999999999</c:v>
                </c:pt>
                <c:pt idx="285">
                  <c:v>0.47</c:v>
                </c:pt>
                <c:pt idx="286">
                  <c:v>0.47499999999999998</c:v>
                </c:pt>
                <c:pt idx="287">
                  <c:v>0.372</c:v>
                </c:pt>
                <c:pt idx="288">
                  <c:v>0.28100000000000003</c:v>
                </c:pt>
                <c:pt idx="289">
                  <c:v>0.20699999999999999</c:v>
                </c:pt>
                <c:pt idx="290">
                  <c:v>0.48599999999999999</c:v>
                </c:pt>
                <c:pt idx="291">
                  <c:v>0.65600000000000003</c:v>
                </c:pt>
                <c:pt idx="292">
                  <c:v>0.58899999999999997</c:v>
                </c:pt>
                <c:pt idx="293">
                  <c:v>0.73699999999999999</c:v>
                </c:pt>
                <c:pt idx="294">
                  <c:v>0.3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4A0B-4F0F-A94A-9E4D16C1C1B1}"/>
            </c:ext>
          </c:extLst>
        </c:ser>
        <c:ser>
          <c:idx val="2"/>
          <c:order val="3"/>
          <c:tx>
            <c:strRef>
              <c:f>股票择时信号!$AD$7</c:f>
              <c:strCache>
                <c:ptCount val="1"/>
                <c:pt idx="0">
                  <c:v>新房房价同比增速（负相关，已取负值）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5</c:f>
              <c:numCache>
                <c:formatCode>yyyy\-mm\-dd</c:formatCode>
                <c:ptCount val="295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</c:numCache>
            </c:numRef>
          </c:cat>
          <c:val>
            <c:numRef>
              <c:f>股票择时信号!$AD$11:$AD$305</c:f>
              <c:numCache>
                <c:formatCode>0.0%</c:formatCode>
                <c:ptCount val="29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8</c:v>
                </c:pt>
                <c:pt idx="6">
                  <c:v>0.66600000000000004</c:v>
                </c:pt>
                <c:pt idx="7">
                  <c:v>0.57099999999999995</c:v>
                </c:pt>
                <c:pt idx="8">
                  <c:v>0.5</c:v>
                </c:pt>
                <c:pt idx="9">
                  <c:v>0.44400000000000001</c:v>
                </c:pt>
                <c:pt idx="10">
                  <c:v>0.9</c:v>
                </c:pt>
                <c:pt idx="11">
                  <c:v>0.81799999999999995</c:v>
                </c:pt>
                <c:pt idx="12">
                  <c:v>0.75</c:v>
                </c:pt>
                <c:pt idx="13">
                  <c:v>0.69199999999999995</c:v>
                </c:pt>
                <c:pt idx="14">
                  <c:v>0.64200000000000002</c:v>
                </c:pt>
                <c:pt idx="15">
                  <c:v>0.6</c:v>
                </c:pt>
                <c:pt idx="16">
                  <c:v>0.56200000000000006</c:v>
                </c:pt>
                <c:pt idx="17">
                  <c:v>0.52900000000000003</c:v>
                </c:pt>
                <c:pt idx="18">
                  <c:v>0.94399999999999995</c:v>
                </c:pt>
                <c:pt idx="19">
                  <c:v>0.89400000000000002</c:v>
                </c:pt>
                <c:pt idx="20">
                  <c:v>0.85</c:v>
                </c:pt>
                <c:pt idx="21">
                  <c:v>0.80900000000000005</c:v>
                </c:pt>
                <c:pt idx="22">
                  <c:v>0.77200000000000002</c:v>
                </c:pt>
                <c:pt idx="23">
                  <c:v>0.95599999999999996</c:v>
                </c:pt>
                <c:pt idx="24">
                  <c:v>0.91600000000000004</c:v>
                </c:pt>
                <c:pt idx="25">
                  <c:v>0.88</c:v>
                </c:pt>
                <c:pt idx="26">
                  <c:v>0.84599999999999997</c:v>
                </c:pt>
                <c:pt idx="27">
                  <c:v>0.81399999999999995</c:v>
                </c:pt>
                <c:pt idx="28">
                  <c:v>0.96399999999999997</c:v>
                </c:pt>
                <c:pt idx="29">
                  <c:v>0.93100000000000005</c:v>
                </c:pt>
                <c:pt idx="30">
                  <c:v>0.9</c:v>
                </c:pt>
                <c:pt idx="31">
                  <c:v>0.87</c:v>
                </c:pt>
                <c:pt idx="32">
                  <c:v>0.96799999999999997</c:v>
                </c:pt>
                <c:pt idx="33">
                  <c:v>0.93899999999999995</c:v>
                </c:pt>
                <c:pt idx="34">
                  <c:v>0.91100000000000003</c:v>
                </c:pt>
                <c:pt idx="35">
                  <c:v>0.88500000000000001</c:v>
                </c:pt>
                <c:pt idx="36">
                  <c:v>0.97199999999999998</c:v>
                </c:pt>
                <c:pt idx="37">
                  <c:v>0.94499999999999995</c:v>
                </c:pt>
                <c:pt idx="38">
                  <c:v>0.92100000000000004</c:v>
                </c:pt>
                <c:pt idx="39">
                  <c:v>0.89700000000000002</c:v>
                </c:pt>
                <c:pt idx="40">
                  <c:v>0.875</c:v>
                </c:pt>
                <c:pt idx="41">
                  <c:v>0.97499999999999998</c:v>
                </c:pt>
                <c:pt idx="42">
                  <c:v>0.95199999999999996</c:v>
                </c:pt>
                <c:pt idx="43">
                  <c:v>0.93</c:v>
                </c:pt>
                <c:pt idx="44">
                  <c:v>0.90900000000000003</c:v>
                </c:pt>
                <c:pt idx="45">
                  <c:v>0.88800000000000001</c:v>
                </c:pt>
                <c:pt idx="46">
                  <c:v>0.86899999999999999</c:v>
                </c:pt>
                <c:pt idx="47">
                  <c:v>0.85099999999999998</c:v>
                </c:pt>
                <c:pt idx="48">
                  <c:v>0.83299999999999996</c:v>
                </c:pt>
                <c:pt idx="49">
                  <c:v>0.71399999999999997</c:v>
                </c:pt>
                <c:pt idx="50">
                  <c:v>0.7</c:v>
                </c:pt>
                <c:pt idx="51">
                  <c:v>0.68600000000000005</c:v>
                </c:pt>
                <c:pt idx="52">
                  <c:v>0.67300000000000004</c:v>
                </c:pt>
                <c:pt idx="53">
                  <c:v>0.58399999999999996</c:v>
                </c:pt>
                <c:pt idx="54">
                  <c:v>0.57399999999999995</c:v>
                </c:pt>
                <c:pt idx="55">
                  <c:v>0.56299999999999994</c:v>
                </c:pt>
                <c:pt idx="56">
                  <c:v>0.55300000000000005</c:v>
                </c:pt>
                <c:pt idx="57">
                  <c:v>0.54300000000000004</c:v>
                </c:pt>
                <c:pt idx="58">
                  <c:v>0.53400000000000003</c:v>
                </c:pt>
                <c:pt idx="59">
                  <c:v>0.52500000000000002</c:v>
                </c:pt>
                <c:pt idx="60">
                  <c:v>0.51600000000000001</c:v>
                </c:pt>
                <c:pt idx="61">
                  <c:v>0.50800000000000001</c:v>
                </c:pt>
                <c:pt idx="62">
                  <c:v>0.435</c:v>
                </c:pt>
                <c:pt idx="63">
                  <c:v>0.42799999999999999</c:v>
                </c:pt>
                <c:pt idx="64">
                  <c:v>0.42099999999999999</c:v>
                </c:pt>
                <c:pt idx="65">
                  <c:v>0.41499999999999998</c:v>
                </c:pt>
                <c:pt idx="66">
                  <c:v>0.66600000000000004</c:v>
                </c:pt>
                <c:pt idx="67">
                  <c:v>0.65600000000000003</c:v>
                </c:pt>
                <c:pt idx="68">
                  <c:v>0.64700000000000002</c:v>
                </c:pt>
                <c:pt idx="69">
                  <c:v>0.63700000000000001</c:v>
                </c:pt>
                <c:pt idx="70">
                  <c:v>0.628</c:v>
                </c:pt>
                <c:pt idx="71">
                  <c:v>0.746</c:v>
                </c:pt>
                <c:pt idx="72">
                  <c:v>0.73599999999999999</c:v>
                </c:pt>
                <c:pt idx="73">
                  <c:v>0.72599999999999998</c:v>
                </c:pt>
                <c:pt idx="74">
                  <c:v>0.71599999999999997</c:v>
                </c:pt>
                <c:pt idx="75">
                  <c:v>0.88</c:v>
                </c:pt>
                <c:pt idx="76">
                  <c:v>0.86799999999999999</c:v>
                </c:pt>
                <c:pt idx="77">
                  <c:v>0.85699999999999998</c:v>
                </c:pt>
                <c:pt idx="78">
                  <c:v>0.84599999999999997</c:v>
                </c:pt>
                <c:pt idx="79">
                  <c:v>0.83499999999999996</c:v>
                </c:pt>
                <c:pt idx="80">
                  <c:v>0.98699999999999999</c:v>
                </c:pt>
                <c:pt idx="81">
                  <c:v>0.97499999999999998</c:v>
                </c:pt>
                <c:pt idx="82">
                  <c:v>0.96299999999999997</c:v>
                </c:pt>
                <c:pt idx="83">
                  <c:v>0.95099999999999996</c:v>
                </c:pt>
                <c:pt idx="84">
                  <c:v>0.98799999999999999</c:v>
                </c:pt>
                <c:pt idx="85">
                  <c:v>0.97599999999999998</c:v>
                </c:pt>
                <c:pt idx="86">
                  <c:v>0.96499999999999997</c:v>
                </c:pt>
                <c:pt idx="87">
                  <c:v>0.95399999999999996</c:v>
                </c:pt>
                <c:pt idx="88">
                  <c:v>0.98799999999999999</c:v>
                </c:pt>
                <c:pt idx="89">
                  <c:v>0.97699999999999998</c:v>
                </c:pt>
                <c:pt idx="90">
                  <c:v>0.96599999999999997</c:v>
                </c:pt>
                <c:pt idx="91">
                  <c:v>0.95599999999999996</c:v>
                </c:pt>
                <c:pt idx="92">
                  <c:v>0.94499999999999995</c:v>
                </c:pt>
                <c:pt idx="93">
                  <c:v>0.98899999999999999</c:v>
                </c:pt>
                <c:pt idx="94">
                  <c:v>0.97799999999999998</c:v>
                </c:pt>
                <c:pt idx="95">
                  <c:v>0.96799999999999997</c:v>
                </c:pt>
                <c:pt idx="96">
                  <c:v>0.95799999999999996</c:v>
                </c:pt>
                <c:pt idx="97">
                  <c:v>0.94799999999999995</c:v>
                </c:pt>
                <c:pt idx="98">
                  <c:v>0.98899999999999999</c:v>
                </c:pt>
                <c:pt idx="99">
                  <c:v>0.97899999999999998</c:v>
                </c:pt>
                <c:pt idx="100">
                  <c:v>0.97</c:v>
                </c:pt>
                <c:pt idx="101">
                  <c:v>0.99</c:v>
                </c:pt>
                <c:pt idx="102">
                  <c:v>0.98</c:v>
                </c:pt>
                <c:pt idx="103">
                  <c:v>0.97</c:v>
                </c:pt>
                <c:pt idx="104">
                  <c:v>0.96099999999999997</c:v>
                </c:pt>
                <c:pt idx="105">
                  <c:v>0.95199999999999996</c:v>
                </c:pt>
                <c:pt idx="106">
                  <c:v>0.99</c:v>
                </c:pt>
                <c:pt idx="107">
                  <c:v>0.98099999999999998</c:v>
                </c:pt>
                <c:pt idx="108">
                  <c:v>0.97199999999999998</c:v>
                </c:pt>
                <c:pt idx="109">
                  <c:v>0.96299999999999997</c:v>
                </c:pt>
                <c:pt idx="110">
                  <c:v>1</c:v>
                </c:pt>
                <c:pt idx="111">
                  <c:v>0.99</c:v>
                </c:pt>
                <c:pt idx="112">
                  <c:v>0.98199999999999998</c:v>
                </c:pt>
                <c:pt idx="113">
                  <c:v>0.97299999999999998</c:v>
                </c:pt>
                <c:pt idx="114">
                  <c:v>1</c:v>
                </c:pt>
                <c:pt idx="115">
                  <c:v>0.99099999999999999</c:v>
                </c:pt>
                <c:pt idx="116">
                  <c:v>0.98199999999999998</c:v>
                </c:pt>
                <c:pt idx="117">
                  <c:v>0.97399999999999998</c:v>
                </c:pt>
                <c:pt idx="118">
                  <c:v>1</c:v>
                </c:pt>
                <c:pt idx="119">
                  <c:v>0.99099999999999999</c:v>
                </c:pt>
                <c:pt idx="120">
                  <c:v>0.98299999999999998</c:v>
                </c:pt>
                <c:pt idx="121">
                  <c:v>0.97499999999999998</c:v>
                </c:pt>
                <c:pt idx="122">
                  <c:v>0.96699999999999997</c:v>
                </c:pt>
                <c:pt idx="123">
                  <c:v>1</c:v>
                </c:pt>
                <c:pt idx="124">
                  <c:v>0.99099999999999999</c:v>
                </c:pt>
                <c:pt idx="125">
                  <c:v>0.98399999999999999</c:v>
                </c:pt>
                <c:pt idx="126">
                  <c:v>0.97599999999999998</c:v>
                </c:pt>
                <c:pt idx="127">
                  <c:v>1</c:v>
                </c:pt>
                <c:pt idx="128">
                  <c:v>0.99199999999999999</c:v>
                </c:pt>
                <c:pt idx="129">
                  <c:v>0.98399999999999999</c:v>
                </c:pt>
                <c:pt idx="130">
                  <c:v>0.97599999999999998</c:v>
                </c:pt>
                <c:pt idx="131">
                  <c:v>0.96899999999999997</c:v>
                </c:pt>
                <c:pt idx="132">
                  <c:v>0.96199999999999997</c:v>
                </c:pt>
                <c:pt idx="133">
                  <c:v>1</c:v>
                </c:pt>
                <c:pt idx="134">
                  <c:v>0.99199999999999999</c:v>
                </c:pt>
                <c:pt idx="135">
                  <c:v>0.98499999999999999</c:v>
                </c:pt>
                <c:pt idx="136">
                  <c:v>1</c:v>
                </c:pt>
                <c:pt idx="137">
                  <c:v>0.99199999999999999</c:v>
                </c:pt>
                <c:pt idx="138">
                  <c:v>0.98499999999999999</c:v>
                </c:pt>
                <c:pt idx="139">
                  <c:v>0.97799999999999998</c:v>
                </c:pt>
                <c:pt idx="140">
                  <c:v>0.95</c:v>
                </c:pt>
                <c:pt idx="141">
                  <c:v>0.94299999999999995</c:v>
                </c:pt>
                <c:pt idx="142">
                  <c:v>0.93600000000000005</c:v>
                </c:pt>
                <c:pt idx="143">
                  <c:v>0.93</c:v>
                </c:pt>
                <c:pt idx="144">
                  <c:v>0.92300000000000004</c:v>
                </c:pt>
                <c:pt idx="145">
                  <c:v>0.91700000000000004</c:v>
                </c:pt>
                <c:pt idx="146">
                  <c:v>0.91</c:v>
                </c:pt>
                <c:pt idx="147">
                  <c:v>0.90400000000000003</c:v>
                </c:pt>
                <c:pt idx="148">
                  <c:v>0.89800000000000002</c:v>
                </c:pt>
                <c:pt idx="149">
                  <c:v>0.89200000000000002</c:v>
                </c:pt>
                <c:pt idx="150">
                  <c:v>0.88600000000000001</c:v>
                </c:pt>
                <c:pt idx="151">
                  <c:v>0.88</c:v>
                </c:pt>
                <c:pt idx="152">
                  <c:v>0.875</c:v>
                </c:pt>
                <c:pt idx="153">
                  <c:v>0.83</c:v>
                </c:pt>
                <c:pt idx="154">
                  <c:v>0.82399999999999995</c:v>
                </c:pt>
                <c:pt idx="155">
                  <c:v>0.81899999999999995</c:v>
                </c:pt>
                <c:pt idx="156">
                  <c:v>0.81399999999999995</c:v>
                </c:pt>
                <c:pt idx="157">
                  <c:v>0.80800000000000005</c:v>
                </c:pt>
                <c:pt idx="158">
                  <c:v>0.77800000000000002</c:v>
                </c:pt>
                <c:pt idx="159">
                  <c:v>0.77300000000000002</c:v>
                </c:pt>
                <c:pt idx="160">
                  <c:v>0.76800000000000002</c:v>
                </c:pt>
                <c:pt idx="161">
                  <c:v>0.76300000000000001</c:v>
                </c:pt>
                <c:pt idx="162">
                  <c:v>0.70299999999999996</c:v>
                </c:pt>
                <c:pt idx="163">
                  <c:v>0.69899999999999995</c:v>
                </c:pt>
                <c:pt idx="164">
                  <c:v>0.69499999999999995</c:v>
                </c:pt>
                <c:pt idx="165">
                  <c:v>0.69</c:v>
                </c:pt>
                <c:pt idx="166">
                  <c:v>0.68600000000000005</c:v>
                </c:pt>
                <c:pt idx="167">
                  <c:v>0.68200000000000005</c:v>
                </c:pt>
                <c:pt idx="168">
                  <c:v>0.67800000000000005</c:v>
                </c:pt>
                <c:pt idx="169">
                  <c:v>0.67400000000000004</c:v>
                </c:pt>
                <c:pt idx="170">
                  <c:v>0.67</c:v>
                </c:pt>
                <c:pt idx="171">
                  <c:v>0.66600000000000004</c:v>
                </c:pt>
                <c:pt idx="172">
                  <c:v>0.66200000000000003</c:v>
                </c:pt>
                <c:pt idx="173">
                  <c:v>0.65800000000000003</c:v>
                </c:pt>
                <c:pt idx="174">
                  <c:v>0.65500000000000003</c:v>
                </c:pt>
                <c:pt idx="175">
                  <c:v>0.70199999999999996</c:v>
                </c:pt>
                <c:pt idx="176">
                  <c:v>0.69799999999999995</c:v>
                </c:pt>
                <c:pt idx="177">
                  <c:v>0.69399999999999995</c:v>
                </c:pt>
                <c:pt idx="178">
                  <c:v>0.69099999999999995</c:v>
                </c:pt>
                <c:pt idx="179">
                  <c:v>0.68700000000000006</c:v>
                </c:pt>
                <c:pt idx="180">
                  <c:v>0.68300000000000005</c:v>
                </c:pt>
                <c:pt idx="181">
                  <c:v>0.67900000000000005</c:v>
                </c:pt>
                <c:pt idx="182">
                  <c:v>0.67500000000000004</c:v>
                </c:pt>
                <c:pt idx="183">
                  <c:v>0.67200000000000004</c:v>
                </c:pt>
                <c:pt idx="184">
                  <c:v>0.66800000000000004</c:v>
                </c:pt>
                <c:pt idx="185">
                  <c:v>0.66400000000000003</c:v>
                </c:pt>
                <c:pt idx="186">
                  <c:v>0.66100000000000003</c:v>
                </c:pt>
                <c:pt idx="187">
                  <c:v>0.65700000000000003</c:v>
                </c:pt>
                <c:pt idx="188">
                  <c:v>0.65400000000000003</c:v>
                </c:pt>
                <c:pt idx="189">
                  <c:v>0.65</c:v>
                </c:pt>
                <c:pt idx="190">
                  <c:v>0.64700000000000002</c:v>
                </c:pt>
                <c:pt idx="191">
                  <c:v>0.64300000000000002</c:v>
                </c:pt>
                <c:pt idx="192">
                  <c:v>0.72899999999999998</c:v>
                </c:pt>
                <c:pt idx="193">
                  <c:v>0.72499999999999998</c:v>
                </c:pt>
                <c:pt idx="194">
                  <c:v>0.72099999999999997</c:v>
                </c:pt>
                <c:pt idx="195">
                  <c:v>0.71699999999999997</c:v>
                </c:pt>
                <c:pt idx="196">
                  <c:v>0.71399999999999997</c:v>
                </c:pt>
                <c:pt idx="197">
                  <c:v>0.77600000000000002</c:v>
                </c:pt>
                <c:pt idx="198">
                  <c:v>0.77200000000000002</c:v>
                </c:pt>
                <c:pt idx="199">
                  <c:v>0.76800000000000002</c:v>
                </c:pt>
                <c:pt idx="200">
                  <c:v>0.76500000000000001</c:v>
                </c:pt>
                <c:pt idx="201">
                  <c:v>0.76100000000000001</c:v>
                </c:pt>
                <c:pt idx="202">
                  <c:v>0.78200000000000003</c:v>
                </c:pt>
                <c:pt idx="203">
                  <c:v>0.77800000000000002</c:v>
                </c:pt>
                <c:pt idx="204">
                  <c:v>0.77400000000000002</c:v>
                </c:pt>
                <c:pt idx="205">
                  <c:v>0.77</c:v>
                </c:pt>
                <c:pt idx="206">
                  <c:v>0.84899999999999998</c:v>
                </c:pt>
                <c:pt idx="207">
                  <c:v>0.84499999999999997</c:v>
                </c:pt>
                <c:pt idx="208">
                  <c:v>0.84099999999999997</c:v>
                </c:pt>
                <c:pt idx="209">
                  <c:v>0.83699999999999997</c:v>
                </c:pt>
                <c:pt idx="210">
                  <c:v>1</c:v>
                </c:pt>
                <c:pt idx="211">
                  <c:v>0.995</c:v>
                </c:pt>
                <c:pt idx="212">
                  <c:v>0.99</c:v>
                </c:pt>
                <c:pt idx="213">
                  <c:v>0.98499999999999999</c:v>
                </c:pt>
                <c:pt idx="214">
                  <c:v>1</c:v>
                </c:pt>
                <c:pt idx="215">
                  <c:v>0.995</c:v>
                </c:pt>
                <c:pt idx="216">
                  <c:v>0.99</c:v>
                </c:pt>
                <c:pt idx="217">
                  <c:v>0.98599999999999999</c:v>
                </c:pt>
                <c:pt idx="218">
                  <c:v>0.98099999999999998</c:v>
                </c:pt>
                <c:pt idx="219">
                  <c:v>1</c:v>
                </c:pt>
                <c:pt idx="220">
                  <c:v>0.995</c:v>
                </c:pt>
                <c:pt idx="221">
                  <c:v>0.99</c:v>
                </c:pt>
                <c:pt idx="222">
                  <c:v>0.98599999999999999</c:v>
                </c:pt>
                <c:pt idx="223">
                  <c:v>1</c:v>
                </c:pt>
                <c:pt idx="224">
                  <c:v>0.995</c:v>
                </c:pt>
                <c:pt idx="225">
                  <c:v>0.99099999999999999</c:v>
                </c:pt>
                <c:pt idx="226">
                  <c:v>0.98599999999999999</c:v>
                </c:pt>
                <c:pt idx="227">
                  <c:v>1</c:v>
                </c:pt>
                <c:pt idx="228">
                  <c:v>0.995</c:v>
                </c:pt>
                <c:pt idx="229">
                  <c:v>0.99099999999999999</c:v>
                </c:pt>
                <c:pt idx="230">
                  <c:v>0.98599999999999999</c:v>
                </c:pt>
                <c:pt idx="231">
                  <c:v>1</c:v>
                </c:pt>
                <c:pt idx="232">
                  <c:v>0.995</c:v>
                </c:pt>
                <c:pt idx="233">
                  <c:v>0.99099999999999999</c:v>
                </c:pt>
                <c:pt idx="234">
                  <c:v>0.98699999999999999</c:v>
                </c:pt>
                <c:pt idx="235">
                  <c:v>0.98199999999999998</c:v>
                </c:pt>
                <c:pt idx="236">
                  <c:v>1</c:v>
                </c:pt>
                <c:pt idx="237">
                  <c:v>0.995</c:v>
                </c:pt>
                <c:pt idx="238">
                  <c:v>0.99099999999999999</c:v>
                </c:pt>
                <c:pt idx="239">
                  <c:v>0.98699999999999999</c:v>
                </c:pt>
                <c:pt idx="240">
                  <c:v>1</c:v>
                </c:pt>
                <c:pt idx="241">
                  <c:v>0.995</c:v>
                </c:pt>
                <c:pt idx="242">
                  <c:v>0.99099999999999999</c:v>
                </c:pt>
                <c:pt idx="243">
                  <c:v>0.98699999999999999</c:v>
                </c:pt>
                <c:pt idx="244">
                  <c:v>0.98299999999999998</c:v>
                </c:pt>
                <c:pt idx="245">
                  <c:v>0.96299999999999997</c:v>
                </c:pt>
                <c:pt idx="246">
                  <c:v>0.95899999999999996</c:v>
                </c:pt>
                <c:pt idx="247">
                  <c:v>0.95499999999999996</c:v>
                </c:pt>
                <c:pt idx="248">
                  <c:v>0.95099999999999996</c:v>
                </c:pt>
                <c:pt idx="249">
                  <c:v>0.92700000000000005</c:v>
                </c:pt>
                <c:pt idx="250">
                  <c:v>0.92400000000000004</c:v>
                </c:pt>
                <c:pt idx="251">
                  <c:v>0.92</c:v>
                </c:pt>
                <c:pt idx="252">
                  <c:v>0.91600000000000004</c:v>
                </c:pt>
                <c:pt idx="253">
                  <c:v>0.91300000000000003</c:v>
                </c:pt>
                <c:pt idx="254">
                  <c:v>0.90900000000000003</c:v>
                </c:pt>
                <c:pt idx="255">
                  <c:v>0.90500000000000003</c:v>
                </c:pt>
                <c:pt idx="256">
                  <c:v>0.90200000000000002</c:v>
                </c:pt>
                <c:pt idx="257">
                  <c:v>0.89800000000000002</c:v>
                </c:pt>
                <c:pt idx="258">
                  <c:v>0.879</c:v>
                </c:pt>
                <c:pt idx="259">
                  <c:v>0.876</c:v>
                </c:pt>
                <c:pt idx="260">
                  <c:v>0.873</c:v>
                </c:pt>
                <c:pt idx="261">
                  <c:v>0.86899999999999999</c:v>
                </c:pt>
                <c:pt idx="262">
                  <c:v>0.86599999999999999</c:v>
                </c:pt>
                <c:pt idx="263">
                  <c:v>0.86299999999999999</c:v>
                </c:pt>
                <c:pt idx="264">
                  <c:v>0.85899999999999999</c:v>
                </c:pt>
                <c:pt idx="265">
                  <c:v>0.85599999999999998</c:v>
                </c:pt>
                <c:pt idx="266">
                  <c:v>0.85299999999999998</c:v>
                </c:pt>
                <c:pt idx="267">
                  <c:v>0.83499999999999996</c:v>
                </c:pt>
                <c:pt idx="268">
                  <c:v>0.83199999999999996</c:v>
                </c:pt>
                <c:pt idx="269">
                  <c:v>0.82799999999999996</c:v>
                </c:pt>
                <c:pt idx="270">
                  <c:v>0.82499999999999996</c:v>
                </c:pt>
                <c:pt idx="271">
                  <c:v>0.80800000000000005</c:v>
                </c:pt>
                <c:pt idx="272">
                  <c:v>0.80500000000000005</c:v>
                </c:pt>
                <c:pt idx="273">
                  <c:v>0.80200000000000005</c:v>
                </c:pt>
                <c:pt idx="274">
                  <c:v>0.79900000000000004</c:v>
                </c:pt>
                <c:pt idx="275">
                  <c:v>0.79600000000000004</c:v>
                </c:pt>
                <c:pt idx="276">
                  <c:v>0.79300000000000004</c:v>
                </c:pt>
                <c:pt idx="277">
                  <c:v>0.79</c:v>
                </c:pt>
                <c:pt idx="278">
                  <c:v>0.78700000000000003</c:v>
                </c:pt>
                <c:pt idx="279">
                  <c:v>0.76700000000000002</c:v>
                </c:pt>
                <c:pt idx="280">
                  <c:v>0.76400000000000001</c:v>
                </c:pt>
                <c:pt idx="281">
                  <c:v>0.76100000000000001</c:v>
                </c:pt>
                <c:pt idx="282">
                  <c:v>0.75800000000000001</c:v>
                </c:pt>
                <c:pt idx="283">
                  <c:v>0.75600000000000001</c:v>
                </c:pt>
                <c:pt idx="284">
                  <c:v>0.753</c:v>
                </c:pt>
                <c:pt idx="285">
                  <c:v>0.75</c:v>
                </c:pt>
                <c:pt idx="286">
                  <c:v>0.748</c:v>
                </c:pt>
                <c:pt idx="287">
                  <c:v>0.745</c:v>
                </c:pt>
                <c:pt idx="288">
                  <c:v>0.74299999999999999</c:v>
                </c:pt>
                <c:pt idx="289">
                  <c:v>0.72599999999999998</c:v>
                </c:pt>
                <c:pt idx="290">
                  <c:v>0.72399999999999998</c:v>
                </c:pt>
                <c:pt idx="291">
                  <c:v>0.72099999999999997</c:v>
                </c:pt>
                <c:pt idx="292">
                  <c:v>0.71899999999999997</c:v>
                </c:pt>
                <c:pt idx="293">
                  <c:v>0.71599999999999997</c:v>
                </c:pt>
                <c:pt idx="294">
                  <c:v>0.7139999999999999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4A0B-4F0F-A94A-9E4D16C1C1B1}"/>
            </c:ext>
          </c:extLst>
        </c:ser>
        <c:ser>
          <c:idx val="3"/>
          <c:order val="4"/>
          <c:tx>
            <c:strRef>
              <c:f>股票择时信号!$AE$7</c:f>
              <c:strCache>
                <c:ptCount val="1"/>
                <c:pt idx="0">
                  <c:v>人民币兑美元离岸汇率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5</c:f>
              <c:numCache>
                <c:formatCode>yyyy\-mm\-dd</c:formatCode>
                <c:ptCount val="295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</c:numCache>
            </c:numRef>
          </c:cat>
          <c:val>
            <c:numRef>
              <c:f>股票择时信号!$AE$11:$AE$305</c:f>
              <c:numCache>
                <c:formatCode>0.0%</c:formatCode>
                <c:ptCount val="29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.375</c:v>
                </c:pt>
                <c:pt idx="9">
                  <c:v>0.222</c:v>
                </c:pt>
                <c:pt idx="10">
                  <c:v>0.3</c:v>
                </c:pt>
                <c:pt idx="11">
                  <c:v>0.27200000000000002</c:v>
                </c:pt>
                <c:pt idx="12">
                  <c:v>8.3000000000000004E-2</c:v>
                </c:pt>
                <c:pt idx="13">
                  <c:v>0</c:v>
                </c:pt>
                <c:pt idx="14">
                  <c:v>0</c:v>
                </c:pt>
                <c:pt idx="15">
                  <c:v>6.6000000000000003E-2</c:v>
                </c:pt>
                <c:pt idx="16">
                  <c:v>6.2E-2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4.1000000000000002E-2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3.4000000000000002E-2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.03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2.7E-2</c:v>
                </c:pt>
                <c:pt idx="38">
                  <c:v>0</c:v>
                </c:pt>
                <c:pt idx="39">
                  <c:v>0</c:v>
                </c:pt>
                <c:pt idx="40">
                  <c:v>2.5000000000000001E-2</c:v>
                </c:pt>
                <c:pt idx="41">
                  <c:v>4.8000000000000001E-2</c:v>
                </c:pt>
                <c:pt idx="42">
                  <c:v>2.3E-2</c:v>
                </c:pt>
                <c:pt idx="43">
                  <c:v>2.3E-2</c:v>
                </c:pt>
                <c:pt idx="44">
                  <c:v>0</c:v>
                </c:pt>
                <c:pt idx="45">
                  <c:v>2.1999999999999999E-2</c:v>
                </c:pt>
                <c:pt idx="46">
                  <c:v>0.13</c:v>
                </c:pt>
                <c:pt idx="47">
                  <c:v>0.17</c:v>
                </c:pt>
                <c:pt idx="48">
                  <c:v>0.187</c:v>
                </c:pt>
                <c:pt idx="49">
                  <c:v>0.183</c:v>
                </c:pt>
                <c:pt idx="50">
                  <c:v>0.3</c:v>
                </c:pt>
                <c:pt idx="51">
                  <c:v>0.372</c:v>
                </c:pt>
                <c:pt idx="52">
                  <c:v>0.32600000000000001</c:v>
                </c:pt>
                <c:pt idx="53">
                  <c:v>0.30099999999999999</c:v>
                </c:pt>
                <c:pt idx="54">
                  <c:v>0.14799999999999999</c:v>
                </c:pt>
                <c:pt idx="55">
                  <c:v>0.127</c:v>
                </c:pt>
                <c:pt idx="56">
                  <c:v>3.5000000000000003E-2</c:v>
                </c:pt>
                <c:pt idx="57">
                  <c:v>1.7000000000000001E-2</c:v>
                </c:pt>
                <c:pt idx="58">
                  <c:v>1.7000000000000001E-2</c:v>
                </c:pt>
                <c:pt idx="59">
                  <c:v>0</c:v>
                </c:pt>
                <c:pt idx="60">
                  <c:v>1.6E-2</c:v>
                </c:pt>
                <c:pt idx="61">
                  <c:v>3.2000000000000001E-2</c:v>
                </c:pt>
                <c:pt idx="62">
                  <c:v>9.6000000000000002E-2</c:v>
                </c:pt>
                <c:pt idx="63">
                  <c:v>0.19</c:v>
                </c:pt>
                <c:pt idx="64">
                  <c:v>0.20300000000000001</c:v>
                </c:pt>
                <c:pt idx="65">
                  <c:v>0.26100000000000001</c:v>
                </c:pt>
                <c:pt idx="66">
                  <c:v>0.21199999999999999</c:v>
                </c:pt>
                <c:pt idx="67">
                  <c:v>0.28299999999999997</c:v>
                </c:pt>
                <c:pt idx="68">
                  <c:v>0.26400000000000001</c:v>
                </c:pt>
                <c:pt idx="69">
                  <c:v>0.20200000000000001</c:v>
                </c:pt>
                <c:pt idx="70">
                  <c:v>0.314</c:v>
                </c:pt>
                <c:pt idx="71">
                  <c:v>0.33800000000000002</c:v>
                </c:pt>
                <c:pt idx="72">
                  <c:v>0.19400000000000001</c:v>
                </c:pt>
                <c:pt idx="73">
                  <c:v>0.109</c:v>
                </c:pt>
                <c:pt idx="74">
                  <c:v>0.13500000000000001</c:v>
                </c:pt>
                <c:pt idx="75">
                  <c:v>0.14599999999999999</c:v>
                </c:pt>
                <c:pt idx="76">
                  <c:v>0.184</c:v>
                </c:pt>
                <c:pt idx="77">
                  <c:v>0.14199999999999999</c:v>
                </c:pt>
                <c:pt idx="78">
                  <c:v>0.115</c:v>
                </c:pt>
                <c:pt idx="79">
                  <c:v>7.4999999999999997E-2</c:v>
                </c:pt>
                <c:pt idx="80">
                  <c:v>2.5000000000000001E-2</c:v>
                </c:pt>
                <c:pt idx="81">
                  <c:v>4.9000000000000002E-2</c:v>
                </c:pt>
                <c:pt idx="82">
                  <c:v>0.06</c:v>
                </c:pt>
                <c:pt idx="83">
                  <c:v>1.2E-2</c:v>
                </c:pt>
                <c:pt idx="84">
                  <c:v>1.0999999999999999E-2</c:v>
                </c:pt>
                <c:pt idx="85">
                  <c:v>7.0000000000000007E-2</c:v>
                </c:pt>
                <c:pt idx="86">
                  <c:v>0</c:v>
                </c:pt>
                <c:pt idx="87">
                  <c:v>0</c:v>
                </c:pt>
                <c:pt idx="88">
                  <c:v>3.4000000000000002E-2</c:v>
                </c:pt>
                <c:pt idx="89">
                  <c:v>2.1999999999999999E-2</c:v>
                </c:pt>
                <c:pt idx="90">
                  <c:v>0</c:v>
                </c:pt>
                <c:pt idx="91">
                  <c:v>5.3999999999999999E-2</c:v>
                </c:pt>
                <c:pt idx="92">
                  <c:v>0</c:v>
                </c:pt>
                <c:pt idx="93">
                  <c:v>0</c:v>
                </c:pt>
                <c:pt idx="94">
                  <c:v>0.01</c:v>
                </c:pt>
                <c:pt idx="95">
                  <c:v>2.1000000000000001E-2</c:v>
                </c:pt>
                <c:pt idx="96">
                  <c:v>3.1E-2</c:v>
                </c:pt>
                <c:pt idx="97">
                  <c:v>0</c:v>
                </c:pt>
                <c:pt idx="98">
                  <c:v>0</c:v>
                </c:pt>
                <c:pt idx="99">
                  <c:v>0.01</c:v>
                </c:pt>
                <c:pt idx="100">
                  <c:v>0.03</c:v>
                </c:pt>
                <c:pt idx="101">
                  <c:v>0.108</c:v>
                </c:pt>
                <c:pt idx="102">
                  <c:v>0.156</c:v>
                </c:pt>
                <c:pt idx="103">
                  <c:v>8.6999999999999994E-2</c:v>
                </c:pt>
                <c:pt idx="104">
                  <c:v>9.6000000000000002E-2</c:v>
                </c:pt>
                <c:pt idx="105">
                  <c:v>0.19</c:v>
                </c:pt>
                <c:pt idx="106">
                  <c:v>0.46200000000000002</c:v>
                </c:pt>
                <c:pt idx="107">
                  <c:v>0.71</c:v>
                </c:pt>
                <c:pt idx="108">
                  <c:v>0.73099999999999998</c:v>
                </c:pt>
                <c:pt idx="109">
                  <c:v>0.77900000000000003</c:v>
                </c:pt>
                <c:pt idx="110">
                  <c:v>0.754</c:v>
                </c:pt>
                <c:pt idx="111">
                  <c:v>0.72899999999999998</c:v>
                </c:pt>
                <c:pt idx="112">
                  <c:v>0.70499999999999996</c:v>
                </c:pt>
                <c:pt idx="113">
                  <c:v>0.71599999999999997</c:v>
                </c:pt>
                <c:pt idx="114">
                  <c:v>0.754</c:v>
                </c:pt>
                <c:pt idx="115">
                  <c:v>0.70399999999999996</c:v>
                </c:pt>
                <c:pt idx="116">
                  <c:v>0.70599999999999996</c:v>
                </c:pt>
                <c:pt idx="117">
                  <c:v>0.7</c:v>
                </c:pt>
                <c:pt idx="118">
                  <c:v>0.77100000000000002</c:v>
                </c:pt>
                <c:pt idx="119">
                  <c:v>0.77300000000000002</c:v>
                </c:pt>
                <c:pt idx="120">
                  <c:v>0.76600000000000001</c:v>
                </c:pt>
                <c:pt idx="121">
                  <c:v>0.77600000000000002</c:v>
                </c:pt>
                <c:pt idx="122">
                  <c:v>0.745</c:v>
                </c:pt>
                <c:pt idx="123">
                  <c:v>0.81299999999999994</c:v>
                </c:pt>
                <c:pt idx="124">
                  <c:v>0.83</c:v>
                </c:pt>
                <c:pt idx="125">
                  <c:v>0.84</c:v>
                </c:pt>
                <c:pt idx="126">
                  <c:v>0.85699999999999998</c:v>
                </c:pt>
                <c:pt idx="127">
                  <c:v>0.86599999999999999</c:v>
                </c:pt>
                <c:pt idx="128">
                  <c:v>0.94499999999999995</c:v>
                </c:pt>
                <c:pt idx="129">
                  <c:v>0.99199999999999999</c:v>
                </c:pt>
                <c:pt idx="130">
                  <c:v>0.95299999999999996</c:v>
                </c:pt>
                <c:pt idx="131">
                  <c:v>1</c:v>
                </c:pt>
                <c:pt idx="132">
                  <c:v>1</c:v>
                </c:pt>
                <c:pt idx="133">
                  <c:v>1</c:v>
                </c:pt>
                <c:pt idx="134">
                  <c:v>0.99199999999999999</c:v>
                </c:pt>
                <c:pt idx="135">
                  <c:v>0.97</c:v>
                </c:pt>
                <c:pt idx="136">
                  <c:v>0.91900000000000004</c:v>
                </c:pt>
                <c:pt idx="137">
                  <c:v>0.97</c:v>
                </c:pt>
                <c:pt idx="138">
                  <c:v>0.876</c:v>
                </c:pt>
                <c:pt idx="139">
                  <c:v>0.79100000000000004</c:v>
                </c:pt>
                <c:pt idx="140">
                  <c:v>0.79200000000000004</c:v>
                </c:pt>
                <c:pt idx="141">
                  <c:v>0.80100000000000005</c:v>
                </c:pt>
                <c:pt idx="142">
                  <c:v>0.76700000000000002</c:v>
                </c:pt>
                <c:pt idx="143">
                  <c:v>0.72</c:v>
                </c:pt>
                <c:pt idx="144">
                  <c:v>0.63100000000000001</c:v>
                </c:pt>
                <c:pt idx="145">
                  <c:v>0.66800000000000004</c:v>
                </c:pt>
                <c:pt idx="146">
                  <c:v>0.65700000000000003</c:v>
                </c:pt>
                <c:pt idx="147">
                  <c:v>0.66600000000000004</c:v>
                </c:pt>
                <c:pt idx="148">
                  <c:v>0.69499999999999995</c:v>
                </c:pt>
                <c:pt idx="149">
                  <c:v>0.72399999999999998</c:v>
                </c:pt>
                <c:pt idx="150">
                  <c:v>0.76</c:v>
                </c:pt>
                <c:pt idx="151">
                  <c:v>0.74099999999999999</c:v>
                </c:pt>
                <c:pt idx="152">
                  <c:v>0.78200000000000003</c:v>
                </c:pt>
                <c:pt idx="153">
                  <c:v>0.73199999999999998</c:v>
                </c:pt>
                <c:pt idx="154">
                  <c:v>0.70699999999999996</c:v>
                </c:pt>
                <c:pt idx="155">
                  <c:v>0.72199999999999998</c:v>
                </c:pt>
                <c:pt idx="156">
                  <c:v>0.71699999999999997</c:v>
                </c:pt>
                <c:pt idx="157">
                  <c:v>0.72599999999999998</c:v>
                </c:pt>
                <c:pt idx="158">
                  <c:v>0.74</c:v>
                </c:pt>
                <c:pt idx="159">
                  <c:v>0.76100000000000001</c:v>
                </c:pt>
                <c:pt idx="160">
                  <c:v>0.75600000000000001</c:v>
                </c:pt>
                <c:pt idx="161">
                  <c:v>0.78200000000000003</c:v>
                </c:pt>
                <c:pt idx="162">
                  <c:v>0.85099999999999998</c:v>
                </c:pt>
                <c:pt idx="163">
                  <c:v>0.86499999999999999</c:v>
                </c:pt>
                <c:pt idx="164">
                  <c:v>0.92600000000000005</c:v>
                </c:pt>
                <c:pt idx="165">
                  <c:v>0.95099999999999996</c:v>
                </c:pt>
                <c:pt idx="166">
                  <c:v>0.95099999999999996</c:v>
                </c:pt>
                <c:pt idx="167">
                  <c:v>0.98199999999999998</c:v>
                </c:pt>
                <c:pt idx="168">
                  <c:v>0.98799999999999999</c:v>
                </c:pt>
                <c:pt idx="169">
                  <c:v>0.98199999999999998</c:v>
                </c:pt>
                <c:pt idx="170">
                  <c:v>0.95799999999999996</c:v>
                </c:pt>
                <c:pt idx="171">
                  <c:v>0.96399999999999997</c:v>
                </c:pt>
                <c:pt idx="172">
                  <c:v>0.93600000000000005</c:v>
                </c:pt>
                <c:pt idx="173">
                  <c:v>0.95299999999999996</c:v>
                </c:pt>
                <c:pt idx="174">
                  <c:v>0.97699999999999998</c:v>
                </c:pt>
                <c:pt idx="175">
                  <c:v>1</c:v>
                </c:pt>
                <c:pt idx="176">
                  <c:v>0.99399999999999999</c:v>
                </c:pt>
                <c:pt idx="177">
                  <c:v>0.98799999999999999</c:v>
                </c:pt>
                <c:pt idx="178">
                  <c:v>1</c:v>
                </c:pt>
                <c:pt idx="179">
                  <c:v>0.98299999999999998</c:v>
                </c:pt>
                <c:pt idx="180">
                  <c:v>0.98799999999999999</c:v>
                </c:pt>
                <c:pt idx="181">
                  <c:v>0.98799999999999999</c:v>
                </c:pt>
                <c:pt idx="182">
                  <c:v>0.99399999999999999</c:v>
                </c:pt>
                <c:pt idx="183">
                  <c:v>0.97799999999999998</c:v>
                </c:pt>
                <c:pt idx="184">
                  <c:v>0.99399999999999999</c:v>
                </c:pt>
                <c:pt idx="185">
                  <c:v>0.98899999999999999</c:v>
                </c:pt>
                <c:pt idx="186">
                  <c:v>0.98299999999999998</c:v>
                </c:pt>
                <c:pt idx="187">
                  <c:v>0.95099999999999996</c:v>
                </c:pt>
                <c:pt idx="188">
                  <c:v>0.91400000000000003</c:v>
                </c:pt>
                <c:pt idx="189">
                  <c:v>0.85099999999999998</c:v>
                </c:pt>
                <c:pt idx="190">
                  <c:v>0.83099999999999996</c:v>
                </c:pt>
                <c:pt idx="191">
                  <c:v>0.86299999999999999</c:v>
                </c:pt>
                <c:pt idx="192">
                  <c:v>0.84299999999999997</c:v>
                </c:pt>
                <c:pt idx="193">
                  <c:v>0.82899999999999996</c:v>
                </c:pt>
                <c:pt idx="194">
                  <c:v>0.80900000000000005</c:v>
                </c:pt>
                <c:pt idx="195">
                  <c:v>0.85599999999999998</c:v>
                </c:pt>
                <c:pt idx="196">
                  <c:v>0.877</c:v>
                </c:pt>
                <c:pt idx="197">
                  <c:v>0.89800000000000002</c:v>
                </c:pt>
                <c:pt idx="198">
                  <c:v>0.86799999999999999</c:v>
                </c:pt>
                <c:pt idx="199">
                  <c:v>0.89400000000000002</c:v>
                </c:pt>
                <c:pt idx="200">
                  <c:v>0.9</c:v>
                </c:pt>
                <c:pt idx="201">
                  <c:v>0.9</c:v>
                </c:pt>
                <c:pt idx="202">
                  <c:v>0.88600000000000001</c:v>
                </c:pt>
                <c:pt idx="203">
                  <c:v>0.89100000000000001</c:v>
                </c:pt>
                <c:pt idx="204">
                  <c:v>0.88200000000000001</c:v>
                </c:pt>
                <c:pt idx="205">
                  <c:v>0.86799999999999999</c:v>
                </c:pt>
                <c:pt idx="206">
                  <c:v>0.90700000000000003</c:v>
                </c:pt>
                <c:pt idx="207">
                  <c:v>0.92700000000000005</c:v>
                </c:pt>
                <c:pt idx="208">
                  <c:v>0.91800000000000004</c:v>
                </c:pt>
                <c:pt idx="209">
                  <c:v>0.92800000000000005</c:v>
                </c:pt>
                <c:pt idx="210">
                  <c:v>0.91400000000000003</c:v>
                </c:pt>
                <c:pt idx="211">
                  <c:v>0.92800000000000005</c:v>
                </c:pt>
                <c:pt idx="212">
                  <c:v>0.872</c:v>
                </c:pt>
                <c:pt idx="213">
                  <c:v>0.877</c:v>
                </c:pt>
                <c:pt idx="214">
                  <c:v>0.878</c:v>
                </c:pt>
                <c:pt idx="215">
                  <c:v>0.92</c:v>
                </c:pt>
                <c:pt idx="216">
                  <c:v>0.92500000000000004</c:v>
                </c:pt>
                <c:pt idx="217">
                  <c:v>0.92100000000000004</c:v>
                </c:pt>
                <c:pt idx="218">
                  <c:v>0.93500000000000005</c:v>
                </c:pt>
                <c:pt idx="219">
                  <c:v>0.94499999999999995</c:v>
                </c:pt>
                <c:pt idx="220">
                  <c:v>0.95899999999999996</c:v>
                </c:pt>
                <c:pt idx="221">
                  <c:v>0.95899999999999996</c:v>
                </c:pt>
                <c:pt idx="222">
                  <c:v>0.92700000000000005</c:v>
                </c:pt>
                <c:pt idx="223">
                  <c:v>0.93200000000000005</c:v>
                </c:pt>
                <c:pt idx="224">
                  <c:v>0.91</c:v>
                </c:pt>
                <c:pt idx="225">
                  <c:v>0.81699999999999995</c:v>
                </c:pt>
                <c:pt idx="226">
                  <c:v>0.747</c:v>
                </c:pt>
                <c:pt idx="227">
                  <c:v>0.74</c:v>
                </c:pt>
                <c:pt idx="228">
                  <c:v>0.68400000000000005</c:v>
                </c:pt>
                <c:pt idx="229">
                  <c:v>0.66800000000000004</c:v>
                </c:pt>
                <c:pt idx="230">
                  <c:v>0.66</c:v>
                </c:pt>
                <c:pt idx="231">
                  <c:v>0.67900000000000005</c:v>
                </c:pt>
                <c:pt idx="232">
                  <c:v>0.62</c:v>
                </c:pt>
                <c:pt idx="233">
                  <c:v>0.58299999999999996</c:v>
                </c:pt>
                <c:pt idx="234">
                  <c:v>0.59799999999999998</c:v>
                </c:pt>
                <c:pt idx="235">
                  <c:v>0.625</c:v>
                </c:pt>
                <c:pt idx="236">
                  <c:v>0.69</c:v>
                </c:pt>
                <c:pt idx="237">
                  <c:v>0.70399999999999996</c:v>
                </c:pt>
                <c:pt idx="238">
                  <c:v>0.71</c:v>
                </c:pt>
                <c:pt idx="239">
                  <c:v>0.75700000000000001</c:v>
                </c:pt>
                <c:pt idx="240">
                  <c:v>0.85399999999999998</c:v>
                </c:pt>
                <c:pt idx="241">
                  <c:v>0.871</c:v>
                </c:pt>
                <c:pt idx="242">
                  <c:v>0.86699999999999999</c:v>
                </c:pt>
                <c:pt idx="243">
                  <c:v>0.93799999999999994</c:v>
                </c:pt>
                <c:pt idx="244">
                  <c:v>0.92200000000000004</c:v>
                </c:pt>
                <c:pt idx="245">
                  <c:v>0.96299999999999997</c:v>
                </c:pt>
                <c:pt idx="246">
                  <c:v>0.96699999999999997</c:v>
                </c:pt>
                <c:pt idx="247">
                  <c:v>1</c:v>
                </c:pt>
                <c:pt idx="248">
                  <c:v>1</c:v>
                </c:pt>
                <c:pt idx="249">
                  <c:v>0.995</c:v>
                </c:pt>
                <c:pt idx="250">
                  <c:v>0.876</c:v>
                </c:pt>
                <c:pt idx="251">
                  <c:v>0.93200000000000005</c:v>
                </c:pt>
                <c:pt idx="252">
                  <c:v>0.94399999999999995</c:v>
                </c:pt>
                <c:pt idx="253">
                  <c:v>0.91300000000000003</c:v>
                </c:pt>
                <c:pt idx="254">
                  <c:v>0.86199999999999999</c:v>
                </c:pt>
                <c:pt idx="255">
                  <c:v>0.89800000000000002</c:v>
                </c:pt>
                <c:pt idx="256">
                  <c:v>0.83199999999999996</c:v>
                </c:pt>
                <c:pt idx="257">
                  <c:v>0.80900000000000005</c:v>
                </c:pt>
                <c:pt idx="258">
                  <c:v>0.81699999999999995</c:v>
                </c:pt>
                <c:pt idx="259">
                  <c:v>0.88400000000000001</c:v>
                </c:pt>
                <c:pt idx="260">
                  <c:v>0.92300000000000004</c:v>
                </c:pt>
                <c:pt idx="261">
                  <c:v>0.97699999999999998</c:v>
                </c:pt>
                <c:pt idx="262">
                  <c:v>0.96099999999999997</c:v>
                </c:pt>
                <c:pt idx="263">
                  <c:v>0.91600000000000004</c:v>
                </c:pt>
                <c:pt idx="264">
                  <c:v>0.80300000000000005</c:v>
                </c:pt>
                <c:pt idx="265">
                  <c:v>0.76600000000000001</c:v>
                </c:pt>
                <c:pt idx="266">
                  <c:v>0.73599999999999999</c:v>
                </c:pt>
                <c:pt idx="267">
                  <c:v>0.71499999999999997</c:v>
                </c:pt>
                <c:pt idx="268">
                  <c:v>0.72</c:v>
                </c:pt>
                <c:pt idx="269">
                  <c:v>0.70199999999999996</c:v>
                </c:pt>
                <c:pt idx="270">
                  <c:v>0.7</c:v>
                </c:pt>
                <c:pt idx="271">
                  <c:v>0.69699999999999995</c:v>
                </c:pt>
                <c:pt idx="272">
                  <c:v>0.67200000000000004</c:v>
                </c:pt>
                <c:pt idx="273">
                  <c:v>0.65900000000000003</c:v>
                </c:pt>
                <c:pt idx="274">
                  <c:v>0.68600000000000005</c:v>
                </c:pt>
                <c:pt idx="275">
                  <c:v>0.68700000000000006</c:v>
                </c:pt>
                <c:pt idx="276">
                  <c:v>0.65500000000000003</c:v>
                </c:pt>
                <c:pt idx="277">
                  <c:v>0.72199999999999998</c:v>
                </c:pt>
                <c:pt idx="278">
                  <c:v>0.70099999999999996</c:v>
                </c:pt>
                <c:pt idx="279">
                  <c:v>0.70599999999999996</c:v>
                </c:pt>
                <c:pt idx="280">
                  <c:v>0.67800000000000005</c:v>
                </c:pt>
                <c:pt idx="281">
                  <c:v>0.60399999999999998</c:v>
                </c:pt>
                <c:pt idx="282">
                  <c:v>0.58799999999999997</c:v>
                </c:pt>
                <c:pt idx="283">
                  <c:v>0.57499999999999996</c:v>
                </c:pt>
                <c:pt idx="284">
                  <c:v>0.56599999999999995</c:v>
                </c:pt>
                <c:pt idx="285">
                  <c:v>0.59599999999999997</c:v>
                </c:pt>
                <c:pt idx="286">
                  <c:v>0.58699999999999997</c:v>
                </c:pt>
                <c:pt idx="287">
                  <c:v>0.623</c:v>
                </c:pt>
                <c:pt idx="288">
                  <c:v>0.57899999999999996</c:v>
                </c:pt>
                <c:pt idx="289">
                  <c:v>0.57699999999999996</c:v>
                </c:pt>
                <c:pt idx="290">
                  <c:v>0.55500000000000005</c:v>
                </c:pt>
                <c:pt idx="291">
                  <c:v>0.57999999999999996</c:v>
                </c:pt>
                <c:pt idx="292">
                  <c:v>0.54700000000000004</c:v>
                </c:pt>
                <c:pt idx="293">
                  <c:v>0.55200000000000005</c:v>
                </c:pt>
                <c:pt idx="294">
                  <c:v>0.5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4A0B-4F0F-A94A-9E4D16C1C1B1}"/>
            </c:ext>
          </c:extLst>
        </c:ser>
        <c:ser>
          <c:idx val="4"/>
          <c:order val="5"/>
          <c:tx>
            <c:strRef>
              <c:f>股票择时信号!$AF$7</c:f>
              <c:strCache>
                <c:ptCount val="1"/>
                <c:pt idx="0">
                  <c:v>CPI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股票择时信号!$B$11:$B$305</c:f>
              <c:numCache>
                <c:formatCode>yyyy\-mm\-dd</c:formatCode>
                <c:ptCount val="295"/>
                <c:pt idx="0">
                  <c:v>43933</c:v>
                </c:pt>
                <c:pt idx="1">
                  <c:v>43940</c:v>
                </c:pt>
                <c:pt idx="2">
                  <c:v>43947</c:v>
                </c:pt>
                <c:pt idx="3">
                  <c:v>43954</c:v>
                </c:pt>
                <c:pt idx="4">
                  <c:v>43961</c:v>
                </c:pt>
                <c:pt idx="5">
                  <c:v>43968</c:v>
                </c:pt>
                <c:pt idx="6">
                  <c:v>43975</c:v>
                </c:pt>
                <c:pt idx="7">
                  <c:v>43982</c:v>
                </c:pt>
                <c:pt idx="8">
                  <c:v>43989</c:v>
                </c:pt>
                <c:pt idx="9">
                  <c:v>43996</c:v>
                </c:pt>
                <c:pt idx="10">
                  <c:v>44003</c:v>
                </c:pt>
                <c:pt idx="11">
                  <c:v>44010</c:v>
                </c:pt>
                <c:pt idx="12">
                  <c:v>44017</c:v>
                </c:pt>
                <c:pt idx="13">
                  <c:v>44024</c:v>
                </c:pt>
                <c:pt idx="14">
                  <c:v>44031</c:v>
                </c:pt>
                <c:pt idx="15">
                  <c:v>44038</c:v>
                </c:pt>
                <c:pt idx="16">
                  <c:v>44045</c:v>
                </c:pt>
                <c:pt idx="17">
                  <c:v>44052</c:v>
                </c:pt>
                <c:pt idx="18">
                  <c:v>44059</c:v>
                </c:pt>
                <c:pt idx="19">
                  <c:v>44066</c:v>
                </c:pt>
                <c:pt idx="20">
                  <c:v>44073</c:v>
                </c:pt>
                <c:pt idx="21">
                  <c:v>44080</c:v>
                </c:pt>
                <c:pt idx="22">
                  <c:v>44087</c:v>
                </c:pt>
                <c:pt idx="23">
                  <c:v>44094</c:v>
                </c:pt>
                <c:pt idx="24">
                  <c:v>44101</c:v>
                </c:pt>
                <c:pt idx="25">
                  <c:v>44108</c:v>
                </c:pt>
                <c:pt idx="26">
                  <c:v>44115</c:v>
                </c:pt>
                <c:pt idx="27">
                  <c:v>44122</c:v>
                </c:pt>
                <c:pt idx="28">
                  <c:v>44129</c:v>
                </c:pt>
                <c:pt idx="29">
                  <c:v>44136</c:v>
                </c:pt>
                <c:pt idx="30">
                  <c:v>44143</c:v>
                </c:pt>
                <c:pt idx="31">
                  <c:v>44150</c:v>
                </c:pt>
                <c:pt idx="32">
                  <c:v>44157</c:v>
                </c:pt>
                <c:pt idx="33">
                  <c:v>44164</c:v>
                </c:pt>
                <c:pt idx="34">
                  <c:v>44171</c:v>
                </c:pt>
                <c:pt idx="35">
                  <c:v>44178</c:v>
                </c:pt>
                <c:pt idx="36">
                  <c:v>44185</c:v>
                </c:pt>
                <c:pt idx="37">
                  <c:v>44192</c:v>
                </c:pt>
                <c:pt idx="38">
                  <c:v>44199</c:v>
                </c:pt>
                <c:pt idx="39">
                  <c:v>44206</c:v>
                </c:pt>
                <c:pt idx="40">
                  <c:v>44213</c:v>
                </c:pt>
                <c:pt idx="41">
                  <c:v>44220</c:v>
                </c:pt>
                <c:pt idx="42">
                  <c:v>44227</c:v>
                </c:pt>
                <c:pt idx="43">
                  <c:v>44234</c:v>
                </c:pt>
                <c:pt idx="44">
                  <c:v>44241</c:v>
                </c:pt>
                <c:pt idx="45">
                  <c:v>44248</c:v>
                </c:pt>
                <c:pt idx="46">
                  <c:v>44255</c:v>
                </c:pt>
                <c:pt idx="47">
                  <c:v>44262</c:v>
                </c:pt>
                <c:pt idx="48">
                  <c:v>44269</c:v>
                </c:pt>
                <c:pt idx="49">
                  <c:v>44276</c:v>
                </c:pt>
                <c:pt idx="50">
                  <c:v>44283</c:v>
                </c:pt>
                <c:pt idx="51">
                  <c:v>44290</c:v>
                </c:pt>
                <c:pt idx="52">
                  <c:v>44297</c:v>
                </c:pt>
                <c:pt idx="53">
                  <c:v>44304</c:v>
                </c:pt>
                <c:pt idx="54">
                  <c:v>44311</c:v>
                </c:pt>
                <c:pt idx="55">
                  <c:v>44318</c:v>
                </c:pt>
                <c:pt idx="56">
                  <c:v>44325</c:v>
                </c:pt>
                <c:pt idx="57">
                  <c:v>44332</c:v>
                </c:pt>
                <c:pt idx="58">
                  <c:v>44339</c:v>
                </c:pt>
                <c:pt idx="59">
                  <c:v>44346</c:v>
                </c:pt>
                <c:pt idx="60">
                  <c:v>44353</c:v>
                </c:pt>
                <c:pt idx="61">
                  <c:v>44360</c:v>
                </c:pt>
                <c:pt idx="62">
                  <c:v>44367</c:v>
                </c:pt>
                <c:pt idx="63">
                  <c:v>44374</c:v>
                </c:pt>
                <c:pt idx="64">
                  <c:v>44381</c:v>
                </c:pt>
                <c:pt idx="65">
                  <c:v>44388</c:v>
                </c:pt>
                <c:pt idx="66">
                  <c:v>44395</c:v>
                </c:pt>
                <c:pt idx="67">
                  <c:v>44402</c:v>
                </c:pt>
                <c:pt idx="68">
                  <c:v>44409</c:v>
                </c:pt>
                <c:pt idx="69">
                  <c:v>44416</c:v>
                </c:pt>
                <c:pt idx="70">
                  <c:v>44423</c:v>
                </c:pt>
                <c:pt idx="71">
                  <c:v>44430</c:v>
                </c:pt>
                <c:pt idx="72">
                  <c:v>44437</c:v>
                </c:pt>
                <c:pt idx="73">
                  <c:v>44444</c:v>
                </c:pt>
                <c:pt idx="74">
                  <c:v>44451</c:v>
                </c:pt>
                <c:pt idx="75">
                  <c:v>44458</c:v>
                </c:pt>
                <c:pt idx="76">
                  <c:v>44465</c:v>
                </c:pt>
                <c:pt idx="77">
                  <c:v>44472</c:v>
                </c:pt>
                <c:pt idx="78">
                  <c:v>44479</c:v>
                </c:pt>
                <c:pt idx="79">
                  <c:v>44486</c:v>
                </c:pt>
                <c:pt idx="80">
                  <c:v>44493</c:v>
                </c:pt>
                <c:pt idx="81">
                  <c:v>44500</c:v>
                </c:pt>
                <c:pt idx="82">
                  <c:v>44507</c:v>
                </c:pt>
                <c:pt idx="83">
                  <c:v>44514</c:v>
                </c:pt>
                <c:pt idx="84">
                  <c:v>44521</c:v>
                </c:pt>
                <c:pt idx="85">
                  <c:v>44528</c:v>
                </c:pt>
                <c:pt idx="86">
                  <c:v>44535</c:v>
                </c:pt>
                <c:pt idx="87">
                  <c:v>44542</c:v>
                </c:pt>
                <c:pt idx="88">
                  <c:v>44549</c:v>
                </c:pt>
                <c:pt idx="89">
                  <c:v>44556</c:v>
                </c:pt>
                <c:pt idx="90">
                  <c:v>44563</c:v>
                </c:pt>
                <c:pt idx="91">
                  <c:v>44570</c:v>
                </c:pt>
                <c:pt idx="92">
                  <c:v>44577</c:v>
                </c:pt>
                <c:pt idx="93">
                  <c:v>44584</c:v>
                </c:pt>
                <c:pt idx="94">
                  <c:v>44591</c:v>
                </c:pt>
                <c:pt idx="95">
                  <c:v>44598</c:v>
                </c:pt>
                <c:pt idx="96">
                  <c:v>44605</c:v>
                </c:pt>
                <c:pt idx="97">
                  <c:v>44612</c:v>
                </c:pt>
                <c:pt idx="98">
                  <c:v>44619</c:v>
                </c:pt>
                <c:pt idx="99">
                  <c:v>44626</c:v>
                </c:pt>
                <c:pt idx="100">
                  <c:v>44633</c:v>
                </c:pt>
                <c:pt idx="101">
                  <c:v>44640</c:v>
                </c:pt>
                <c:pt idx="102">
                  <c:v>44647</c:v>
                </c:pt>
                <c:pt idx="103">
                  <c:v>44654</c:v>
                </c:pt>
                <c:pt idx="104">
                  <c:v>44661</c:v>
                </c:pt>
                <c:pt idx="105">
                  <c:v>44668</c:v>
                </c:pt>
                <c:pt idx="106">
                  <c:v>44675</c:v>
                </c:pt>
                <c:pt idx="107">
                  <c:v>44682</c:v>
                </c:pt>
                <c:pt idx="108">
                  <c:v>44689</c:v>
                </c:pt>
                <c:pt idx="109">
                  <c:v>44696</c:v>
                </c:pt>
                <c:pt idx="110">
                  <c:v>44703</c:v>
                </c:pt>
                <c:pt idx="111">
                  <c:v>44710</c:v>
                </c:pt>
                <c:pt idx="112">
                  <c:v>44717</c:v>
                </c:pt>
                <c:pt idx="113">
                  <c:v>44724</c:v>
                </c:pt>
                <c:pt idx="114">
                  <c:v>44731</c:v>
                </c:pt>
                <c:pt idx="115">
                  <c:v>44738</c:v>
                </c:pt>
                <c:pt idx="116">
                  <c:v>44745</c:v>
                </c:pt>
                <c:pt idx="117">
                  <c:v>44752</c:v>
                </c:pt>
                <c:pt idx="118">
                  <c:v>44759</c:v>
                </c:pt>
                <c:pt idx="119">
                  <c:v>44766</c:v>
                </c:pt>
                <c:pt idx="120">
                  <c:v>44773</c:v>
                </c:pt>
                <c:pt idx="121">
                  <c:v>44780</c:v>
                </c:pt>
                <c:pt idx="122">
                  <c:v>44787</c:v>
                </c:pt>
                <c:pt idx="123">
                  <c:v>44794</c:v>
                </c:pt>
                <c:pt idx="124">
                  <c:v>44801</c:v>
                </c:pt>
                <c:pt idx="125">
                  <c:v>44808</c:v>
                </c:pt>
                <c:pt idx="126">
                  <c:v>44815</c:v>
                </c:pt>
                <c:pt idx="127">
                  <c:v>44822</c:v>
                </c:pt>
                <c:pt idx="128">
                  <c:v>44829</c:v>
                </c:pt>
                <c:pt idx="129">
                  <c:v>44836</c:v>
                </c:pt>
                <c:pt idx="130">
                  <c:v>44843</c:v>
                </c:pt>
                <c:pt idx="131">
                  <c:v>44850</c:v>
                </c:pt>
                <c:pt idx="132">
                  <c:v>44857</c:v>
                </c:pt>
                <c:pt idx="133">
                  <c:v>44864</c:v>
                </c:pt>
                <c:pt idx="134">
                  <c:v>44871</c:v>
                </c:pt>
                <c:pt idx="135">
                  <c:v>44878</c:v>
                </c:pt>
                <c:pt idx="136">
                  <c:v>44885</c:v>
                </c:pt>
                <c:pt idx="137">
                  <c:v>44892</c:v>
                </c:pt>
                <c:pt idx="138">
                  <c:v>44899</c:v>
                </c:pt>
                <c:pt idx="139">
                  <c:v>44906</c:v>
                </c:pt>
                <c:pt idx="140">
                  <c:v>44913</c:v>
                </c:pt>
                <c:pt idx="141">
                  <c:v>44920</c:v>
                </c:pt>
                <c:pt idx="142">
                  <c:v>44927</c:v>
                </c:pt>
                <c:pt idx="143">
                  <c:v>44934</c:v>
                </c:pt>
                <c:pt idx="144">
                  <c:v>44941</c:v>
                </c:pt>
                <c:pt idx="145">
                  <c:v>44948</c:v>
                </c:pt>
                <c:pt idx="146">
                  <c:v>44955</c:v>
                </c:pt>
                <c:pt idx="147">
                  <c:v>44962</c:v>
                </c:pt>
                <c:pt idx="148">
                  <c:v>44969</c:v>
                </c:pt>
                <c:pt idx="149">
                  <c:v>44976</c:v>
                </c:pt>
                <c:pt idx="150">
                  <c:v>44983</c:v>
                </c:pt>
                <c:pt idx="151">
                  <c:v>44990</c:v>
                </c:pt>
                <c:pt idx="152">
                  <c:v>44997</c:v>
                </c:pt>
                <c:pt idx="153">
                  <c:v>45004</c:v>
                </c:pt>
                <c:pt idx="154">
                  <c:v>45011</c:v>
                </c:pt>
                <c:pt idx="155">
                  <c:v>45018</c:v>
                </c:pt>
                <c:pt idx="156">
                  <c:v>45025</c:v>
                </c:pt>
                <c:pt idx="157">
                  <c:v>45032</c:v>
                </c:pt>
                <c:pt idx="158">
                  <c:v>45039</c:v>
                </c:pt>
                <c:pt idx="159">
                  <c:v>45046</c:v>
                </c:pt>
                <c:pt idx="160">
                  <c:v>45053</c:v>
                </c:pt>
                <c:pt idx="161">
                  <c:v>45060</c:v>
                </c:pt>
                <c:pt idx="162">
                  <c:v>45067</c:v>
                </c:pt>
                <c:pt idx="163">
                  <c:v>45074</c:v>
                </c:pt>
                <c:pt idx="164">
                  <c:v>45081</c:v>
                </c:pt>
                <c:pt idx="165">
                  <c:v>45088</c:v>
                </c:pt>
                <c:pt idx="166">
                  <c:v>45095</c:v>
                </c:pt>
                <c:pt idx="167">
                  <c:v>45102</c:v>
                </c:pt>
                <c:pt idx="168">
                  <c:v>45109</c:v>
                </c:pt>
                <c:pt idx="169">
                  <c:v>45116</c:v>
                </c:pt>
                <c:pt idx="170">
                  <c:v>45123</c:v>
                </c:pt>
                <c:pt idx="171">
                  <c:v>45130</c:v>
                </c:pt>
                <c:pt idx="172">
                  <c:v>45137</c:v>
                </c:pt>
                <c:pt idx="173">
                  <c:v>45144</c:v>
                </c:pt>
                <c:pt idx="174">
                  <c:v>45151</c:v>
                </c:pt>
                <c:pt idx="175">
                  <c:v>45158</c:v>
                </c:pt>
                <c:pt idx="176">
                  <c:v>45165</c:v>
                </c:pt>
                <c:pt idx="177">
                  <c:v>45172</c:v>
                </c:pt>
                <c:pt idx="178">
                  <c:v>45179</c:v>
                </c:pt>
                <c:pt idx="179">
                  <c:v>45186</c:v>
                </c:pt>
                <c:pt idx="180">
                  <c:v>45193</c:v>
                </c:pt>
                <c:pt idx="181">
                  <c:v>45200</c:v>
                </c:pt>
                <c:pt idx="182">
                  <c:v>45207</c:v>
                </c:pt>
                <c:pt idx="183">
                  <c:v>45214</c:v>
                </c:pt>
                <c:pt idx="184">
                  <c:v>45221</c:v>
                </c:pt>
                <c:pt idx="185">
                  <c:v>45228</c:v>
                </c:pt>
                <c:pt idx="186">
                  <c:v>45235</c:v>
                </c:pt>
                <c:pt idx="187">
                  <c:v>45242</c:v>
                </c:pt>
                <c:pt idx="188">
                  <c:v>45249</c:v>
                </c:pt>
                <c:pt idx="189">
                  <c:v>45256</c:v>
                </c:pt>
                <c:pt idx="190">
                  <c:v>45263</c:v>
                </c:pt>
                <c:pt idx="191">
                  <c:v>45270</c:v>
                </c:pt>
                <c:pt idx="192">
                  <c:v>45277</c:v>
                </c:pt>
                <c:pt idx="193">
                  <c:v>45284</c:v>
                </c:pt>
                <c:pt idx="194">
                  <c:v>45291</c:v>
                </c:pt>
                <c:pt idx="195">
                  <c:v>45298</c:v>
                </c:pt>
                <c:pt idx="196">
                  <c:v>45305</c:v>
                </c:pt>
                <c:pt idx="197">
                  <c:v>45312</c:v>
                </c:pt>
                <c:pt idx="198">
                  <c:v>45319</c:v>
                </c:pt>
                <c:pt idx="199">
                  <c:v>45326</c:v>
                </c:pt>
                <c:pt idx="200">
                  <c:v>45333</c:v>
                </c:pt>
                <c:pt idx="201">
                  <c:v>45340</c:v>
                </c:pt>
                <c:pt idx="202">
                  <c:v>45347</c:v>
                </c:pt>
                <c:pt idx="203">
                  <c:v>45354</c:v>
                </c:pt>
                <c:pt idx="204">
                  <c:v>45361</c:v>
                </c:pt>
                <c:pt idx="205">
                  <c:v>45368</c:v>
                </c:pt>
                <c:pt idx="206">
                  <c:v>45375</c:v>
                </c:pt>
                <c:pt idx="207">
                  <c:v>45382</c:v>
                </c:pt>
                <c:pt idx="208">
                  <c:v>45389</c:v>
                </c:pt>
                <c:pt idx="209">
                  <c:v>45396</c:v>
                </c:pt>
                <c:pt idx="210">
                  <c:v>45403</c:v>
                </c:pt>
                <c:pt idx="211">
                  <c:v>45410</c:v>
                </c:pt>
                <c:pt idx="212">
                  <c:v>45417</c:v>
                </c:pt>
                <c:pt idx="213">
                  <c:v>45424</c:v>
                </c:pt>
                <c:pt idx="214">
                  <c:v>45431</c:v>
                </c:pt>
                <c:pt idx="215">
                  <c:v>45438</c:v>
                </c:pt>
                <c:pt idx="216">
                  <c:v>45445</c:v>
                </c:pt>
                <c:pt idx="217">
                  <c:v>45452</c:v>
                </c:pt>
                <c:pt idx="218">
                  <c:v>45459</c:v>
                </c:pt>
                <c:pt idx="219">
                  <c:v>45466</c:v>
                </c:pt>
                <c:pt idx="220">
                  <c:v>45473</c:v>
                </c:pt>
                <c:pt idx="221">
                  <c:v>45480</c:v>
                </c:pt>
                <c:pt idx="222">
                  <c:v>45487</c:v>
                </c:pt>
                <c:pt idx="223">
                  <c:v>45494</c:v>
                </c:pt>
                <c:pt idx="224">
                  <c:v>45501</c:v>
                </c:pt>
                <c:pt idx="225">
                  <c:v>45508</c:v>
                </c:pt>
                <c:pt idx="226">
                  <c:v>45515</c:v>
                </c:pt>
                <c:pt idx="227">
                  <c:v>45522</c:v>
                </c:pt>
                <c:pt idx="228">
                  <c:v>45529</c:v>
                </c:pt>
                <c:pt idx="229">
                  <c:v>45536</c:v>
                </c:pt>
                <c:pt idx="230">
                  <c:v>45543</c:v>
                </c:pt>
                <c:pt idx="231">
                  <c:v>45550</c:v>
                </c:pt>
                <c:pt idx="232">
                  <c:v>45557</c:v>
                </c:pt>
                <c:pt idx="233">
                  <c:v>45564</c:v>
                </c:pt>
                <c:pt idx="234">
                  <c:v>45571</c:v>
                </c:pt>
                <c:pt idx="235">
                  <c:v>45578</c:v>
                </c:pt>
                <c:pt idx="236">
                  <c:v>45585</c:v>
                </c:pt>
                <c:pt idx="237">
                  <c:v>45592</c:v>
                </c:pt>
                <c:pt idx="238">
                  <c:v>45599</c:v>
                </c:pt>
                <c:pt idx="239">
                  <c:v>45606</c:v>
                </c:pt>
                <c:pt idx="240">
                  <c:v>45613</c:v>
                </c:pt>
                <c:pt idx="241">
                  <c:v>45620</c:v>
                </c:pt>
                <c:pt idx="242">
                  <c:v>45627</c:v>
                </c:pt>
                <c:pt idx="243">
                  <c:v>45634</c:v>
                </c:pt>
                <c:pt idx="244">
                  <c:v>45641</c:v>
                </c:pt>
                <c:pt idx="245">
                  <c:v>45648</c:v>
                </c:pt>
                <c:pt idx="246">
                  <c:v>45655</c:v>
                </c:pt>
                <c:pt idx="247">
                  <c:v>45662</c:v>
                </c:pt>
                <c:pt idx="248">
                  <c:v>45669</c:v>
                </c:pt>
                <c:pt idx="249">
                  <c:v>45676</c:v>
                </c:pt>
                <c:pt idx="250">
                  <c:v>45683</c:v>
                </c:pt>
                <c:pt idx="251">
                  <c:v>45690</c:v>
                </c:pt>
                <c:pt idx="252">
                  <c:v>45697</c:v>
                </c:pt>
                <c:pt idx="253">
                  <c:v>45704</c:v>
                </c:pt>
                <c:pt idx="254">
                  <c:v>45711</c:v>
                </c:pt>
                <c:pt idx="255">
                  <c:v>45718</c:v>
                </c:pt>
                <c:pt idx="256">
                  <c:v>45725</c:v>
                </c:pt>
                <c:pt idx="257">
                  <c:v>45732</c:v>
                </c:pt>
                <c:pt idx="258">
                  <c:v>45739</c:v>
                </c:pt>
                <c:pt idx="259">
                  <c:v>45746</c:v>
                </c:pt>
                <c:pt idx="260">
                  <c:v>45753</c:v>
                </c:pt>
                <c:pt idx="261">
                  <c:v>45760</c:v>
                </c:pt>
                <c:pt idx="262">
                  <c:v>45767</c:v>
                </c:pt>
                <c:pt idx="263">
                  <c:v>45774</c:v>
                </c:pt>
                <c:pt idx="264">
                  <c:v>45781</c:v>
                </c:pt>
                <c:pt idx="265">
                  <c:v>45788</c:v>
                </c:pt>
                <c:pt idx="266">
                  <c:v>45795</c:v>
                </c:pt>
                <c:pt idx="267">
                  <c:v>45802</c:v>
                </c:pt>
                <c:pt idx="268">
                  <c:v>45809</c:v>
                </c:pt>
                <c:pt idx="269">
                  <c:v>45816</c:v>
                </c:pt>
                <c:pt idx="270">
                  <c:v>45823</c:v>
                </c:pt>
                <c:pt idx="271">
                  <c:v>45830</c:v>
                </c:pt>
                <c:pt idx="272">
                  <c:v>45837</c:v>
                </c:pt>
                <c:pt idx="273">
                  <c:v>45844</c:v>
                </c:pt>
                <c:pt idx="274">
                  <c:v>45851</c:v>
                </c:pt>
                <c:pt idx="275">
                  <c:v>45858</c:v>
                </c:pt>
                <c:pt idx="276">
                  <c:v>45865</c:v>
                </c:pt>
                <c:pt idx="277">
                  <c:v>45872</c:v>
                </c:pt>
                <c:pt idx="278">
                  <c:v>45879</c:v>
                </c:pt>
                <c:pt idx="279">
                  <c:v>45886</c:v>
                </c:pt>
                <c:pt idx="280">
                  <c:v>45893</c:v>
                </c:pt>
                <c:pt idx="281">
                  <c:v>45900</c:v>
                </c:pt>
                <c:pt idx="282">
                  <c:v>45907</c:v>
                </c:pt>
                <c:pt idx="283">
                  <c:v>45914</c:v>
                </c:pt>
                <c:pt idx="284">
                  <c:v>45921</c:v>
                </c:pt>
                <c:pt idx="285">
                  <c:v>45928</c:v>
                </c:pt>
                <c:pt idx="286">
                  <c:v>45935</c:v>
                </c:pt>
                <c:pt idx="287">
                  <c:v>45942</c:v>
                </c:pt>
                <c:pt idx="288">
                  <c:v>45949</c:v>
                </c:pt>
                <c:pt idx="289">
                  <c:v>45956</c:v>
                </c:pt>
                <c:pt idx="290">
                  <c:v>45963</c:v>
                </c:pt>
                <c:pt idx="291">
                  <c:v>45970</c:v>
                </c:pt>
                <c:pt idx="292">
                  <c:v>45977</c:v>
                </c:pt>
                <c:pt idx="293">
                  <c:v>45984</c:v>
                </c:pt>
                <c:pt idx="294">
                  <c:v>45991</c:v>
                </c:pt>
              </c:numCache>
            </c:numRef>
          </c:cat>
          <c:val>
            <c:numRef>
              <c:f>股票择时信号!$AF$11:$AF$305</c:f>
              <c:numCache>
                <c:formatCode>0.0%</c:formatCode>
                <c:ptCount val="29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.307</c:v>
                </c:pt>
                <c:pt idx="14">
                  <c:v>0.28499999999999998</c:v>
                </c:pt>
                <c:pt idx="15">
                  <c:v>0.26600000000000001</c:v>
                </c:pt>
                <c:pt idx="16">
                  <c:v>0.25</c:v>
                </c:pt>
                <c:pt idx="17">
                  <c:v>0.23499999999999999</c:v>
                </c:pt>
                <c:pt idx="18">
                  <c:v>0.5</c:v>
                </c:pt>
                <c:pt idx="19">
                  <c:v>0.47299999999999998</c:v>
                </c:pt>
                <c:pt idx="20">
                  <c:v>0.45</c:v>
                </c:pt>
                <c:pt idx="21">
                  <c:v>0.42799999999999999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.125</c:v>
                </c:pt>
                <c:pt idx="41">
                  <c:v>0.121</c:v>
                </c:pt>
                <c:pt idx="42">
                  <c:v>0.11899999999999999</c:v>
                </c:pt>
                <c:pt idx="43">
                  <c:v>0.11600000000000001</c:v>
                </c:pt>
                <c:pt idx="44">
                  <c:v>0.113</c:v>
                </c:pt>
                <c:pt idx="45">
                  <c:v>0.111</c:v>
                </c:pt>
                <c:pt idx="46">
                  <c:v>0.108</c:v>
                </c:pt>
                <c:pt idx="47">
                  <c:v>0.106</c:v>
                </c:pt>
                <c:pt idx="48">
                  <c:v>0.187</c:v>
                </c:pt>
                <c:pt idx="49">
                  <c:v>0.183</c:v>
                </c:pt>
                <c:pt idx="50">
                  <c:v>0.18</c:v>
                </c:pt>
                <c:pt idx="51">
                  <c:v>0.17599999999999999</c:v>
                </c:pt>
                <c:pt idx="52">
                  <c:v>0.32600000000000001</c:v>
                </c:pt>
                <c:pt idx="53">
                  <c:v>0.32</c:v>
                </c:pt>
                <c:pt idx="54">
                  <c:v>0.314</c:v>
                </c:pt>
                <c:pt idx="55">
                  <c:v>0.309</c:v>
                </c:pt>
                <c:pt idx="56">
                  <c:v>0.30299999999999999</c:v>
                </c:pt>
                <c:pt idx="57">
                  <c:v>0.45600000000000002</c:v>
                </c:pt>
                <c:pt idx="58">
                  <c:v>0.44800000000000001</c:v>
                </c:pt>
                <c:pt idx="59">
                  <c:v>0.44</c:v>
                </c:pt>
                <c:pt idx="60">
                  <c:v>0.433</c:v>
                </c:pt>
                <c:pt idx="61">
                  <c:v>0.49099999999999999</c:v>
                </c:pt>
                <c:pt idx="62">
                  <c:v>0.48299999999999998</c:v>
                </c:pt>
                <c:pt idx="63">
                  <c:v>0.47599999999999998</c:v>
                </c:pt>
                <c:pt idx="64">
                  <c:v>0.46800000000000003</c:v>
                </c:pt>
                <c:pt idx="65">
                  <c:v>0.46100000000000002</c:v>
                </c:pt>
                <c:pt idx="66">
                  <c:v>0.45400000000000001</c:v>
                </c:pt>
                <c:pt idx="67">
                  <c:v>0.44700000000000001</c:v>
                </c:pt>
                <c:pt idx="68">
                  <c:v>0.441</c:v>
                </c:pt>
                <c:pt idx="69">
                  <c:v>0.434</c:v>
                </c:pt>
                <c:pt idx="70">
                  <c:v>0.42799999999999999</c:v>
                </c:pt>
                <c:pt idx="71">
                  <c:v>0.42199999999999999</c:v>
                </c:pt>
                <c:pt idx="72">
                  <c:v>0.41599999999999998</c:v>
                </c:pt>
                <c:pt idx="73">
                  <c:v>0.41</c:v>
                </c:pt>
                <c:pt idx="74">
                  <c:v>0.35099999999999998</c:v>
                </c:pt>
                <c:pt idx="75">
                  <c:v>0.34599999999999997</c:v>
                </c:pt>
                <c:pt idx="76">
                  <c:v>0.34200000000000003</c:v>
                </c:pt>
                <c:pt idx="77">
                  <c:v>0.33700000000000002</c:v>
                </c:pt>
                <c:pt idx="78">
                  <c:v>0.33300000000000002</c:v>
                </c:pt>
                <c:pt idx="79">
                  <c:v>0.32900000000000001</c:v>
                </c:pt>
                <c:pt idx="80">
                  <c:v>0.32500000000000001</c:v>
                </c:pt>
                <c:pt idx="81">
                  <c:v>0.32</c:v>
                </c:pt>
                <c:pt idx="82">
                  <c:v>0.317</c:v>
                </c:pt>
                <c:pt idx="83">
                  <c:v>0.626</c:v>
                </c:pt>
                <c:pt idx="84">
                  <c:v>0.61899999999999999</c:v>
                </c:pt>
                <c:pt idx="85">
                  <c:v>0.61099999999999999</c:v>
                </c:pt>
                <c:pt idx="86">
                  <c:v>0.60399999999999998</c:v>
                </c:pt>
                <c:pt idx="87">
                  <c:v>0.68899999999999995</c:v>
                </c:pt>
                <c:pt idx="88">
                  <c:v>0.68100000000000005</c:v>
                </c:pt>
                <c:pt idx="89">
                  <c:v>0.67400000000000004</c:v>
                </c:pt>
                <c:pt idx="90">
                  <c:v>0.66600000000000004</c:v>
                </c:pt>
                <c:pt idx="91">
                  <c:v>0.65900000000000003</c:v>
                </c:pt>
                <c:pt idx="92">
                  <c:v>0.56499999999999995</c:v>
                </c:pt>
                <c:pt idx="93">
                  <c:v>0.55900000000000005</c:v>
                </c:pt>
                <c:pt idx="94">
                  <c:v>0.55300000000000005</c:v>
                </c:pt>
                <c:pt idx="95">
                  <c:v>0.54700000000000004</c:v>
                </c:pt>
                <c:pt idx="96">
                  <c:v>0.54100000000000004</c:v>
                </c:pt>
                <c:pt idx="97">
                  <c:v>0.36</c:v>
                </c:pt>
                <c:pt idx="98">
                  <c:v>0.35699999999999998</c:v>
                </c:pt>
                <c:pt idx="99">
                  <c:v>0.35299999999999998</c:v>
                </c:pt>
                <c:pt idx="100">
                  <c:v>0.35</c:v>
                </c:pt>
                <c:pt idx="101">
                  <c:v>0.34599999999999997</c:v>
                </c:pt>
                <c:pt idx="102">
                  <c:v>0.34300000000000003</c:v>
                </c:pt>
                <c:pt idx="103">
                  <c:v>0.33900000000000002</c:v>
                </c:pt>
                <c:pt idx="104">
                  <c:v>0.33600000000000002</c:v>
                </c:pt>
                <c:pt idx="105">
                  <c:v>0.57099999999999995</c:v>
                </c:pt>
                <c:pt idx="106">
                  <c:v>0.56599999999999995</c:v>
                </c:pt>
                <c:pt idx="107">
                  <c:v>0.56000000000000005</c:v>
                </c:pt>
                <c:pt idx="108">
                  <c:v>0.55500000000000005</c:v>
                </c:pt>
                <c:pt idx="109">
                  <c:v>0.70599999999999996</c:v>
                </c:pt>
                <c:pt idx="110">
                  <c:v>0.7</c:v>
                </c:pt>
                <c:pt idx="111">
                  <c:v>0.69299999999999995</c:v>
                </c:pt>
                <c:pt idx="112">
                  <c:v>0.68700000000000006</c:v>
                </c:pt>
                <c:pt idx="113">
                  <c:v>0.68100000000000005</c:v>
                </c:pt>
                <c:pt idx="114">
                  <c:v>0.67500000000000004</c:v>
                </c:pt>
                <c:pt idx="115">
                  <c:v>0.66900000000000004</c:v>
                </c:pt>
                <c:pt idx="116">
                  <c:v>0.66300000000000003</c:v>
                </c:pt>
                <c:pt idx="117">
                  <c:v>0.84599999999999997</c:v>
                </c:pt>
                <c:pt idx="118">
                  <c:v>0.83799999999999997</c:v>
                </c:pt>
                <c:pt idx="119">
                  <c:v>0.83099999999999996</c:v>
                </c:pt>
                <c:pt idx="120">
                  <c:v>0.82499999999999996</c:v>
                </c:pt>
                <c:pt idx="121">
                  <c:v>0.81799999999999995</c:v>
                </c:pt>
                <c:pt idx="122">
                  <c:v>0.89300000000000002</c:v>
                </c:pt>
                <c:pt idx="123">
                  <c:v>0.88600000000000001</c:v>
                </c:pt>
                <c:pt idx="124">
                  <c:v>0.879</c:v>
                </c:pt>
                <c:pt idx="125">
                  <c:v>0.872</c:v>
                </c:pt>
                <c:pt idx="126">
                  <c:v>0.78500000000000003</c:v>
                </c:pt>
                <c:pt idx="127">
                  <c:v>0.77900000000000003</c:v>
                </c:pt>
                <c:pt idx="128">
                  <c:v>0.77300000000000002</c:v>
                </c:pt>
                <c:pt idx="129">
                  <c:v>0.76700000000000002</c:v>
                </c:pt>
                <c:pt idx="130">
                  <c:v>0.76100000000000001</c:v>
                </c:pt>
                <c:pt idx="131">
                  <c:v>0.93100000000000005</c:v>
                </c:pt>
                <c:pt idx="132">
                  <c:v>0.92400000000000004</c:v>
                </c:pt>
                <c:pt idx="133">
                  <c:v>0.91700000000000004</c:v>
                </c:pt>
                <c:pt idx="134">
                  <c:v>0.91</c:v>
                </c:pt>
                <c:pt idx="135">
                  <c:v>0.56999999999999995</c:v>
                </c:pt>
                <c:pt idx="136">
                  <c:v>0.56599999999999995</c:v>
                </c:pt>
                <c:pt idx="137">
                  <c:v>0.56200000000000006</c:v>
                </c:pt>
                <c:pt idx="138">
                  <c:v>0.55700000000000005</c:v>
                </c:pt>
                <c:pt idx="139">
                  <c:v>0.52500000000000002</c:v>
                </c:pt>
                <c:pt idx="140">
                  <c:v>0.52100000000000002</c:v>
                </c:pt>
                <c:pt idx="141">
                  <c:v>0.51700000000000002</c:v>
                </c:pt>
                <c:pt idx="142">
                  <c:v>0.51400000000000001</c:v>
                </c:pt>
                <c:pt idx="143">
                  <c:v>0.51</c:v>
                </c:pt>
                <c:pt idx="144">
                  <c:v>0.56899999999999995</c:v>
                </c:pt>
                <c:pt idx="145">
                  <c:v>0.56499999999999995</c:v>
                </c:pt>
                <c:pt idx="146">
                  <c:v>0.56100000000000005</c:v>
                </c:pt>
                <c:pt idx="147">
                  <c:v>0.55700000000000005</c:v>
                </c:pt>
                <c:pt idx="148">
                  <c:v>0.58099999999999996</c:v>
                </c:pt>
                <c:pt idx="149">
                  <c:v>0.57699999999999996</c:v>
                </c:pt>
                <c:pt idx="150">
                  <c:v>0.57299999999999995</c:v>
                </c:pt>
                <c:pt idx="151">
                  <c:v>0.56899999999999995</c:v>
                </c:pt>
                <c:pt idx="152">
                  <c:v>0.309</c:v>
                </c:pt>
                <c:pt idx="153">
                  <c:v>0.307</c:v>
                </c:pt>
                <c:pt idx="154">
                  <c:v>0.30499999999999999</c:v>
                </c:pt>
                <c:pt idx="155">
                  <c:v>0.30299999999999999</c:v>
                </c:pt>
                <c:pt idx="156">
                  <c:v>0.30099999999999999</c:v>
                </c:pt>
                <c:pt idx="157">
                  <c:v>0.16500000000000001</c:v>
                </c:pt>
                <c:pt idx="158">
                  <c:v>0.16400000000000001</c:v>
                </c:pt>
                <c:pt idx="159">
                  <c:v>0.16300000000000001</c:v>
                </c:pt>
                <c:pt idx="160">
                  <c:v>0.16200000000000001</c:v>
                </c:pt>
                <c:pt idx="161">
                  <c:v>0.08</c:v>
                </c:pt>
                <c:pt idx="162">
                  <c:v>0.08</c:v>
                </c:pt>
                <c:pt idx="163">
                  <c:v>7.9000000000000001E-2</c:v>
                </c:pt>
                <c:pt idx="164">
                  <c:v>7.9000000000000001E-2</c:v>
                </c:pt>
                <c:pt idx="165">
                  <c:v>0.10299999999999999</c:v>
                </c:pt>
                <c:pt idx="166">
                  <c:v>0.10199999999999999</c:v>
                </c:pt>
                <c:pt idx="167">
                  <c:v>0.10100000000000001</c:v>
                </c:pt>
                <c:pt idx="168">
                  <c:v>0.10100000000000001</c:v>
                </c:pt>
                <c:pt idx="169">
                  <c:v>0.1</c:v>
                </c:pt>
                <c:pt idx="170">
                  <c:v>7.5999999999999998E-2</c:v>
                </c:pt>
                <c:pt idx="171">
                  <c:v>7.5999999999999998E-2</c:v>
                </c:pt>
                <c:pt idx="172">
                  <c:v>7.4999999999999997E-2</c:v>
                </c:pt>
                <c:pt idx="173">
                  <c:v>7.4999999999999997E-2</c:v>
                </c:pt>
                <c:pt idx="174">
                  <c:v>2.8000000000000001E-2</c:v>
                </c:pt>
                <c:pt idx="175">
                  <c:v>2.8000000000000001E-2</c:v>
                </c:pt>
                <c:pt idx="176">
                  <c:v>2.8000000000000001E-2</c:v>
                </c:pt>
                <c:pt idx="177">
                  <c:v>2.8000000000000001E-2</c:v>
                </c:pt>
                <c:pt idx="178">
                  <c:v>0.11700000000000001</c:v>
                </c:pt>
                <c:pt idx="179">
                  <c:v>0.11700000000000001</c:v>
                </c:pt>
                <c:pt idx="180">
                  <c:v>0.11600000000000001</c:v>
                </c:pt>
                <c:pt idx="181">
                  <c:v>0.11600000000000001</c:v>
                </c:pt>
                <c:pt idx="182">
                  <c:v>0.115</c:v>
                </c:pt>
                <c:pt idx="183">
                  <c:v>9.1999999999999998E-2</c:v>
                </c:pt>
                <c:pt idx="184">
                  <c:v>9.1999999999999998E-2</c:v>
                </c:pt>
                <c:pt idx="185">
                  <c:v>9.0999999999999998E-2</c:v>
                </c:pt>
                <c:pt idx="186">
                  <c:v>9.0999999999999998E-2</c:v>
                </c:pt>
                <c:pt idx="187">
                  <c:v>6.9000000000000006E-2</c:v>
                </c:pt>
                <c:pt idx="188">
                  <c:v>6.9000000000000006E-2</c:v>
                </c:pt>
                <c:pt idx="189">
                  <c:v>6.8000000000000005E-2</c:v>
                </c:pt>
                <c:pt idx="190">
                  <c:v>6.8000000000000005E-2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5.0999999999999997E-2</c:v>
                </c:pt>
                <c:pt idx="197">
                  <c:v>0.05</c:v>
                </c:pt>
                <c:pt idx="198">
                  <c:v>0.05</c:v>
                </c:pt>
                <c:pt idx="199">
                  <c:v>0.05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.33800000000000002</c:v>
                </c:pt>
                <c:pt idx="205">
                  <c:v>0.33600000000000002</c:v>
                </c:pt>
                <c:pt idx="206">
                  <c:v>0.33400000000000002</c:v>
                </c:pt>
                <c:pt idx="207">
                  <c:v>0.33300000000000002</c:v>
                </c:pt>
                <c:pt idx="208">
                  <c:v>0.33100000000000002</c:v>
                </c:pt>
                <c:pt idx="209">
                  <c:v>0.2</c:v>
                </c:pt>
                <c:pt idx="210">
                  <c:v>0.2</c:v>
                </c:pt>
                <c:pt idx="211">
                  <c:v>0.19900000000000001</c:v>
                </c:pt>
                <c:pt idx="212">
                  <c:v>0.19800000000000001</c:v>
                </c:pt>
                <c:pt idx="213">
                  <c:v>0.3</c:v>
                </c:pt>
                <c:pt idx="214">
                  <c:v>0.29899999999999999</c:v>
                </c:pt>
                <c:pt idx="215">
                  <c:v>0.29699999999999999</c:v>
                </c:pt>
                <c:pt idx="216">
                  <c:v>0.29599999999999999</c:v>
                </c:pt>
                <c:pt idx="217">
                  <c:v>0.29399999999999998</c:v>
                </c:pt>
                <c:pt idx="218">
                  <c:v>0.29299999999999998</c:v>
                </c:pt>
                <c:pt idx="219">
                  <c:v>0.29199999999999998</c:v>
                </c:pt>
                <c:pt idx="220">
                  <c:v>0.28999999999999998</c:v>
                </c:pt>
                <c:pt idx="221">
                  <c:v>0.28899999999999998</c:v>
                </c:pt>
                <c:pt idx="222">
                  <c:v>0.247</c:v>
                </c:pt>
                <c:pt idx="223">
                  <c:v>0.246</c:v>
                </c:pt>
                <c:pt idx="224">
                  <c:v>0.245</c:v>
                </c:pt>
                <c:pt idx="225">
                  <c:v>0.24399999999999999</c:v>
                </c:pt>
                <c:pt idx="226">
                  <c:v>0.36199999999999999</c:v>
                </c:pt>
                <c:pt idx="227">
                  <c:v>0.36099999999999999</c:v>
                </c:pt>
                <c:pt idx="228">
                  <c:v>0.35899999999999999</c:v>
                </c:pt>
                <c:pt idx="229">
                  <c:v>0.35799999999999998</c:v>
                </c:pt>
                <c:pt idx="230">
                  <c:v>0.35599999999999998</c:v>
                </c:pt>
                <c:pt idx="231">
                  <c:v>0.39300000000000002</c:v>
                </c:pt>
                <c:pt idx="232">
                  <c:v>0.39200000000000002</c:v>
                </c:pt>
                <c:pt idx="233">
                  <c:v>0.39</c:v>
                </c:pt>
                <c:pt idx="234">
                  <c:v>0.38800000000000001</c:v>
                </c:pt>
                <c:pt idx="235">
                  <c:v>0.32700000000000001</c:v>
                </c:pt>
                <c:pt idx="236">
                  <c:v>0.32600000000000001</c:v>
                </c:pt>
                <c:pt idx="237">
                  <c:v>0.32400000000000001</c:v>
                </c:pt>
                <c:pt idx="238">
                  <c:v>0.32300000000000001</c:v>
                </c:pt>
                <c:pt idx="239">
                  <c:v>0.28399999999999997</c:v>
                </c:pt>
                <c:pt idx="240">
                  <c:v>0.28299999999999997</c:v>
                </c:pt>
                <c:pt idx="241">
                  <c:v>0.28199999999999997</c:v>
                </c:pt>
                <c:pt idx="242">
                  <c:v>0.28000000000000003</c:v>
                </c:pt>
                <c:pt idx="243">
                  <c:v>0.27900000000000003</c:v>
                </c:pt>
                <c:pt idx="244">
                  <c:v>0.22500000000000001</c:v>
                </c:pt>
                <c:pt idx="245">
                  <c:v>0.224</c:v>
                </c:pt>
                <c:pt idx="246">
                  <c:v>0.223</c:v>
                </c:pt>
                <c:pt idx="247">
                  <c:v>0.222</c:v>
                </c:pt>
                <c:pt idx="248">
                  <c:v>0.16900000000000001</c:v>
                </c:pt>
                <c:pt idx="249">
                  <c:v>0.16800000000000001</c:v>
                </c:pt>
                <c:pt idx="250">
                  <c:v>0.16800000000000001</c:v>
                </c:pt>
                <c:pt idx="251">
                  <c:v>0.16700000000000001</c:v>
                </c:pt>
                <c:pt idx="252">
                  <c:v>0.39200000000000002</c:v>
                </c:pt>
                <c:pt idx="253">
                  <c:v>0.39100000000000001</c:v>
                </c:pt>
                <c:pt idx="254">
                  <c:v>0.38900000000000001</c:v>
                </c:pt>
                <c:pt idx="255">
                  <c:v>0.38800000000000001</c:v>
                </c:pt>
                <c:pt idx="256">
                  <c:v>1.4999999999999999E-2</c:v>
                </c:pt>
                <c:pt idx="257">
                  <c:v>1.4999999999999999E-2</c:v>
                </c:pt>
                <c:pt idx="258">
                  <c:v>1.4999999999999999E-2</c:v>
                </c:pt>
                <c:pt idx="259">
                  <c:v>1.4999999999999999E-2</c:v>
                </c:pt>
                <c:pt idx="260">
                  <c:v>1.4999999999999999E-2</c:v>
                </c:pt>
                <c:pt idx="261">
                  <c:v>0.14899999999999999</c:v>
                </c:pt>
                <c:pt idx="262">
                  <c:v>0.14799999999999999</c:v>
                </c:pt>
                <c:pt idx="263">
                  <c:v>0.14799999999999999</c:v>
                </c:pt>
                <c:pt idx="264">
                  <c:v>0.14699999999999999</c:v>
                </c:pt>
                <c:pt idx="265">
                  <c:v>0.14699999999999999</c:v>
                </c:pt>
                <c:pt idx="266">
                  <c:v>0.14599999999999999</c:v>
                </c:pt>
                <c:pt idx="267">
                  <c:v>0.14599999999999999</c:v>
                </c:pt>
                <c:pt idx="268">
                  <c:v>0.14499999999999999</c:v>
                </c:pt>
                <c:pt idx="269">
                  <c:v>0.14399999999999999</c:v>
                </c:pt>
                <c:pt idx="270">
                  <c:v>0.14399999999999999</c:v>
                </c:pt>
                <c:pt idx="271">
                  <c:v>0.14299999999999999</c:v>
                </c:pt>
                <c:pt idx="272">
                  <c:v>0.14299999999999999</c:v>
                </c:pt>
                <c:pt idx="273">
                  <c:v>0.14199999999999999</c:v>
                </c:pt>
                <c:pt idx="274">
                  <c:v>0.218</c:v>
                </c:pt>
                <c:pt idx="275">
                  <c:v>0.218</c:v>
                </c:pt>
                <c:pt idx="276">
                  <c:v>0.217</c:v>
                </c:pt>
                <c:pt idx="277">
                  <c:v>0.216</c:v>
                </c:pt>
                <c:pt idx="278">
                  <c:v>0.187</c:v>
                </c:pt>
                <c:pt idx="279">
                  <c:v>0.186</c:v>
                </c:pt>
                <c:pt idx="280">
                  <c:v>0.185</c:v>
                </c:pt>
                <c:pt idx="281">
                  <c:v>0.185</c:v>
                </c:pt>
                <c:pt idx="282">
                  <c:v>0.184</c:v>
                </c:pt>
                <c:pt idx="283">
                  <c:v>6.7000000000000004E-2</c:v>
                </c:pt>
                <c:pt idx="284">
                  <c:v>6.6000000000000003E-2</c:v>
                </c:pt>
                <c:pt idx="285">
                  <c:v>6.6000000000000003E-2</c:v>
                </c:pt>
                <c:pt idx="286">
                  <c:v>6.6000000000000003E-2</c:v>
                </c:pt>
                <c:pt idx="287">
                  <c:v>6.6000000000000003E-2</c:v>
                </c:pt>
                <c:pt idx="288">
                  <c:v>8.3000000000000004E-2</c:v>
                </c:pt>
                <c:pt idx="289">
                  <c:v>8.3000000000000004E-2</c:v>
                </c:pt>
                <c:pt idx="290">
                  <c:v>8.2000000000000003E-2</c:v>
                </c:pt>
                <c:pt idx="291">
                  <c:v>0.32300000000000001</c:v>
                </c:pt>
                <c:pt idx="292">
                  <c:v>0.32100000000000001</c:v>
                </c:pt>
                <c:pt idx="293">
                  <c:v>0.32</c:v>
                </c:pt>
                <c:pt idx="294">
                  <c:v>0.3190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4A0B-4F0F-A94A-9E4D16C1C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6743680"/>
        <c:axId val="516732256"/>
      </c:lineChart>
      <c:dateAx>
        <c:axId val="516743680"/>
        <c:scaling>
          <c:orientation val="minMax"/>
          <c:min val="45658"/>
        </c:scaling>
        <c:delete val="0"/>
        <c:axPos val="b"/>
        <c:numFmt formatCode="yyyy\-mm\-dd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6732256"/>
        <c:crosses val="autoZero"/>
        <c:auto val="1"/>
        <c:lblOffset val="100"/>
        <c:baseTimeUnit val="days"/>
      </c:dateAx>
      <c:valAx>
        <c:axId val="516732256"/>
        <c:scaling>
          <c:orientation val="minMax"/>
          <c:max val="1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6743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7179493987640433"/>
          <c:w val="1"/>
          <c:h val="0.124717333987097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72F638-0C0C-4CA8-863A-1E2917928455}" type="datetimeFigureOut">
              <a:rPr lang="zh-CN" altLang="en-US" smtClean="0"/>
              <a:t>2025/12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D096B5-0F79-4FDB-AF32-65CF87E9E6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2868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940075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79E73934-97DA-273F-E26A-3A8AC7975D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9DD53203-5DE1-6AF9-B3D8-40161CCF74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3928463B-B19E-C3EA-7176-052D165937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466756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4E0AA5A-1D2D-3FA2-51D1-A48E33A044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42285D4A-562E-A57F-39A4-D0705D536D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9D52FEE6-6270-53D1-AF4E-143067A74A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257393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AF8A5265-638A-ABBF-4AB4-3CF893351E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CED5E72F-1209-0E68-AD6D-7C89D3E0BE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E149B741-04D1-8972-B201-6BDAA4702A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60086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412454C2-51FD-056B-2D24-0651C6795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87C36C21-1D54-DDEE-AA56-4DBD782CA9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A6E4C5D5-195D-CE90-EF5B-60A9B50F9C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8651485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1C730D14-2D19-A839-D88D-80B562E53A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1AE52E52-E29E-96B8-42C4-3C1C2A18A8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82191504-0BA0-3B0C-3E95-04D565A94C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3835965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8854CA3-9B93-0194-66DB-33DEEE57A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BBD3B5AF-0DF7-D64B-E2D8-1FBB0EB02C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DDD28D3F-A591-55D1-1793-B36B0A1819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49483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141F672-9835-A204-9A13-6AD9B6F58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B7C05384-3318-35F5-B213-17D8669BF0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10E17086-8AB6-7A9E-C45E-B5198CD529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17107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4C563F2-948D-C778-15ED-E262410CF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CFDEF9FC-2BD9-DAF3-A293-6F32754623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4909D35D-043E-F3B6-E87D-21D428B599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48121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0B36B02-2773-4F8E-0954-191E6AD35F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00489E3D-2BE7-1073-396C-418F73EC77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50E24EE1-A1EF-CCC1-9749-34DA622B9B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45563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3577B0E-3684-D7E9-6BFA-1D2170F67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C20AE629-2BCE-6BF7-D5BC-866D721E23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9BC87F2B-3506-8257-6842-D7BBDBB70C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27191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B8C8249-92DD-EE6E-48DF-585A3D079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D49964F4-F49C-1D1F-9DC7-316165B1E5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FD846176-FB7B-EC52-44C5-399FBDF633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1662997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BE1D2DB-0683-CF1E-B7D4-D4BB591E9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161D9173-58DC-99B8-E5C2-898F36C25D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F43D53D2-BA95-F941-0CA3-CCF45C3072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301528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41ABC4F-8A45-CB6A-74F7-803D88370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68FF5508-A5C8-C8D7-7924-1D9094FAE0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9B4A71CE-B34F-6FD4-A5FC-795E55D0ED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35301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58ABD83-19D4-1EB7-2A77-CBDF660C03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xmlns="" id="{606B54B7-CAAF-0F55-D042-9056B9CBE7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xmlns="" id="{1B40421A-706F-71EA-6A24-5FCA41F57D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21803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4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6" Type="http://schemas.openxmlformats.org/officeDocument/2006/relationships/tags" Target="../tags/tag52.xml"/><Relationship Id="rId11" Type="http://schemas.openxmlformats.org/officeDocument/2006/relationships/image" Target="../media/image3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image" Target="../media/image2.emf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oleObject" Target="../embeddings/oleObject8.bin"/><Relationship Id="rId2" Type="http://schemas.openxmlformats.org/officeDocument/2006/relationships/tags" Target="../tags/tag55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4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9.vml"/><Relationship Id="rId6" Type="http://schemas.openxmlformats.org/officeDocument/2006/relationships/tags" Target="../tags/tag73.xml"/><Relationship Id="rId11" Type="http://schemas.openxmlformats.org/officeDocument/2006/relationships/image" Target="../media/image2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.xml"/><Relationship Id="rId7" Type="http://schemas.openxmlformats.org/officeDocument/2006/relationships/oleObject" Target="../embeddings/oleObject3.bin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image" Target="../media/image4.jpeg"/><Relationship Id="rId5" Type="http://schemas.openxmlformats.org/officeDocument/2006/relationships/tags" Target="../tags/tag33.xml"/><Relationship Id="rId10" Type="http://schemas.openxmlformats.org/officeDocument/2006/relationships/image" Target="../media/image3.emf"/><Relationship Id="rId4" Type="http://schemas.openxmlformats.org/officeDocument/2006/relationships/tags" Target="../tags/tag32.xml"/><Relationship Id="rId9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5.vml"/><Relationship Id="rId6" Type="http://schemas.openxmlformats.org/officeDocument/2006/relationships/tags" Target="../tags/tag40.xml"/><Relationship Id="rId11" Type="http://schemas.openxmlformats.org/officeDocument/2006/relationships/image" Target="../media/image4.jpeg"/><Relationship Id="rId5" Type="http://schemas.openxmlformats.org/officeDocument/2006/relationships/tags" Target="../tags/tag39.xml"/><Relationship Id="rId10" Type="http://schemas.openxmlformats.org/officeDocument/2006/relationships/image" Target="../media/image3.emf"/><Relationship Id="rId4" Type="http://schemas.openxmlformats.org/officeDocument/2006/relationships/tags" Target="../tags/tag38.xml"/><Relationship Id="rId9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tags" Target="../tags/tag46.xml"/><Relationship Id="rId11" Type="http://schemas.openxmlformats.org/officeDocument/2006/relationships/image" Target="../media/image4.jpeg"/><Relationship Id="rId5" Type="http://schemas.openxmlformats.org/officeDocument/2006/relationships/tags" Target="../tags/tag45.xml"/><Relationship Id="rId10" Type="http://schemas.openxmlformats.org/officeDocument/2006/relationships/image" Target="../media/image3.emf"/><Relationship Id="rId4" Type="http://schemas.openxmlformats.org/officeDocument/2006/relationships/tags" Target="../tags/tag44.xml"/><Relationship Id="rId9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正文级别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xmlns="" id="{1B886ADE-170E-4534-B96C-087F9784B8E3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16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866060" y="6426314"/>
            <a:ext cx="344001" cy="338550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US" altLang="zh-CN" smtClean="0"/>
              <a:pPr/>
              <a:t>‹#›</a:t>
            </a:fld>
            <a:endParaRPr lang="en-US" altLang="zh-CN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xmlns="" id="{5297D44C-0E92-9818-E288-8325D26FDA9A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4" name="灯片编号占位符 5">
            <a:extLst>
              <a:ext uri="{FF2B5EF4-FFF2-40B4-BE49-F238E27FC236}">
                <a16:creationId xmlns:a16="http://schemas.microsoft.com/office/drawing/2014/main" xmlns="" id="{7E1C5E21-E61D-C3CB-34FF-3E09648C4481}"/>
              </a:ext>
            </a:extLst>
          </p:cNvPr>
          <p:cNvSpPr txBox="1">
            <a:spLocks/>
          </p:cNvSpPr>
          <p:nvPr userDrawn="1"/>
        </p:nvSpPr>
        <p:spPr>
          <a:xfrm>
            <a:off x="11843915" y="6371039"/>
            <a:ext cx="374776" cy="369326"/>
          </a:xfrm>
          <a:prstGeom prst="rect">
            <a:avLst/>
          </a:prstGeom>
          <a:ln w="12700">
            <a:miter lim="400000"/>
          </a:ln>
        </p:spPr>
        <p:txBody>
          <a:bodyPr wrap="none" lIns="60957" tIns="60957" rIns="60957" bIns="60957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0C913308-F349-4B6D-A68A-DD1791B4A57B}" type="slidenum">
              <a:rPr lang="zh-CN" altLang="en-US" sz="1600" smtClean="0"/>
              <a:pPr/>
              <a:t>‹#›</a:t>
            </a:fld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47949113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F350A0C1-CF1E-0751-8FF6-CE1996830179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C3B91C98-11E2-8198-7388-68181B81B6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DE7260A3-EE63-DE36-D5EE-34CA4C6CD35F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3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97072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2500" b="1" dirty="0" err="1">
              <a:solidFill>
                <a:srgbClr val="FFFFFF"/>
              </a:solidFill>
              <a:latin typeface="Georgia" panose="02040502050405020303" pitchFamily="18" charset="0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rgbClr val="F0F0F0"/>
              </a:solidFill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74565" y="6499381"/>
            <a:ext cx="107080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>
              <a:defRPr/>
            </a:pPr>
            <a:r>
              <a:rPr lang="en-US" altLang="zh-CN" sz="900" dirty="0" err="1">
                <a:solidFill>
                  <a:srgbClr val="000000"/>
                </a:solidFill>
                <a:cs typeface="Arial" panose="020B0604020202020204" pitchFamily="34" charset="0"/>
              </a:rPr>
              <a:t>McKinsey&amp;Company</a:t>
            </a:r>
            <a:endParaRPr lang="en-US" altLang="zh-CN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altLang="zh-CN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zh-CN" altLang="en-US" sz="9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zh-CN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altLang="en-US" sz="800">
                <a:solidFill>
                  <a:srgbClr val="000000"/>
                </a:solidFill>
              </a:rPr>
              <a:t>资料来源：</a:t>
            </a:r>
            <a:r>
              <a:rPr lang="en-US" altLang="zh-CN" sz="80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24FC89B9-27D6-473D-93DF-880226F4C89E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63337359-D43D-43A2-84F1-8094F8635AB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altLang="zh-CN" sz="1600"/>
              <a:t>Click to edit Master subtitle style</a:t>
            </a:r>
            <a:endParaRPr lang="zh-CN" sz="1600" dirty="0"/>
          </a:p>
        </p:txBody>
      </p:sp>
      <p:sp>
        <p:nvSpPr>
          <p:cNvPr id="25" name="1. On-page tracker">
            <a:extLst>
              <a:ext uri="{FF2B5EF4-FFF2-40B4-BE49-F238E27FC236}">
                <a16:creationId xmlns:a16="http://schemas.microsoft.com/office/drawing/2014/main" xmlns="" id="{E56FBB8C-4E9C-4207-9A79-5E0466E3B3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zh-CN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353373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48DE95B4-AE0C-7EEC-4C08-E3F3FC75B62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4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A5A449F4-9A94-8C4C-4BB5-56A0788520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C61C9440-2E33-5BEB-02DF-A72A9F978542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9121699" cy="54541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FFFFFF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14165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xmlns="" id="{C3786B9E-054E-4287-B177-412FFEADC2D3}"/>
              </a:ext>
            </a:extLst>
          </p:cNvPr>
          <p:cNvSpPr/>
          <p:nvPr userDrawn="1"/>
        </p:nvSpPr>
        <p:spPr>
          <a:xfrm flipH="1">
            <a:off x="-4475" y="711200"/>
            <a:ext cx="5174550" cy="6146800"/>
          </a:xfrm>
          <a:custGeom>
            <a:avLst/>
            <a:gdLst>
              <a:gd name="connsiteX0" fmla="*/ 1730139 w 5174550"/>
              <a:gd name="connsiteY0" fmla="*/ 0 h 6146800"/>
              <a:gd name="connsiteX1" fmla="*/ 785190 w 5174550"/>
              <a:gd name="connsiteY1" fmla="*/ 0 h 6146800"/>
              <a:gd name="connsiteX2" fmla="*/ 510939 w 5174550"/>
              <a:gd name="connsiteY2" fmla="*/ 0 h 6146800"/>
              <a:gd name="connsiteX3" fmla="*/ 434009 w 5174550"/>
              <a:gd name="connsiteY3" fmla="*/ 0 h 6146800"/>
              <a:gd name="connsiteX4" fmla="*/ 0 w 5174550"/>
              <a:gd name="connsiteY4" fmla="*/ 774522 h 6146800"/>
              <a:gd name="connsiteX5" fmla="*/ 3010401 w 5174550"/>
              <a:gd name="connsiteY5" fmla="*/ 6146800 h 6146800"/>
              <a:gd name="connsiteX6" fmla="*/ 3955350 w 5174550"/>
              <a:gd name="connsiteY6" fmla="*/ 6146800 h 6146800"/>
              <a:gd name="connsiteX7" fmla="*/ 4229601 w 5174550"/>
              <a:gd name="connsiteY7" fmla="*/ 6146800 h 6146800"/>
              <a:gd name="connsiteX8" fmla="*/ 5174550 w 5174550"/>
              <a:gd name="connsiteY8" fmla="*/ 6146800 h 614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74550" h="6146800">
                <a:moveTo>
                  <a:pt x="1730139" y="0"/>
                </a:moveTo>
                <a:lnTo>
                  <a:pt x="785190" y="0"/>
                </a:lnTo>
                <a:lnTo>
                  <a:pt x="510939" y="0"/>
                </a:lnTo>
                <a:lnTo>
                  <a:pt x="434009" y="0"/>
                </a:lnTo>
                <a:lnTo>
                  <a:pt x="0" y="774522"/>
                </a:lnTo>
                <a:lnTo>
                  <a:pt x="3010401" y="6146800"/>
                </a:lnTo>
                <a:lnTo>
                  <a:pt x="3955350" y="6146800"/>
                </a:lnTo>
                <a:lnTo>
                  <a:pt x="4229601" y="6146800"/>
                </a:lnTo>
                <a:lnTo>
                  <a:pt x="5174550" y="61468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dirty="0">
              <a:solidFill>
                <a:srgbClr val="000000"/>
              </a:solidFill>
            </a:endParaRPr>
          </a:p>
        </p:txBody>
      </p:sp>
      <p:sp>
        <p:nvSpPr>
          <p:cNvPr id="31" name="Rectangle 2_2">
            <a:extLst>
              <a:ext uri="{FF2B5EF4-FFF2-40B4-BE49-F238E27FC236}">
                <a16:creationId xmlns:a16="http://schemas.microsoft.com/office/drawing/2014/main" xmlns="" id="{A56AC786-B6DF-470F-A893-22C4416AA79F}"/>
              </a:ext>
            </a:extLst>
          </p:cNvPr>
          <p:cNvSpPr/>
          <p:nvPr userDrawn="1"/>
        </p:nvSpPr>
        <p:spPr>
          <a:xfrm>
            <a:off x="0" y="1462175"/>
            <a:ext cx="12192000" cy="3322769"/>
          </a:xfrm>
          <a:prstGeom prst="rect">
            <a:avLst/>
          </a:prstGeom>
          <a:blipFill>
            <a:blip r:embed="rId2"/>
            <a:stretch>
              <a:fillRect t="-225861" b="-22414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xmlns="" id="{DBC81850-0FE5-46C6-B952-F1700C2104EF}"/>
              </a:ext>
            </a:extLst>
          </p:cNvPr>
          <p:cNvSpPr/>
          <p:nvPr/>
        </p:nvSpPr>
        <p:spPr>
          <a:xfrm rot="292154">
            <a:off x="4603891" y="5539278"/>
            <a:ext cx="1326105" cy="1327954"/>
          </a:xfrm>
          <a:custGeom>
            <a:avLst/>
            <a:gdLst>
              <a:gd name="connsiteX0" fmla="*/ 823782 w 1326105"/>
              <a:gd name="connsiteY0" fmla="*/ 494129 h 1327954"/>
              <a:gd name="connsiteX1" fmla="*/ 893587 w 1326105"/>
              <a:gd name="connsiteY1" fmla="*/ 528419 h 1327954"/>
              <a:gd name="connsiteX2" fmla="*/ 1326105 w 1326105"/>
              <a:gd name="connsiteY2" fmla="*/ 1276011 h 1327954"/>
              <a:gd name="connsiteX3" fmla="*/ 1170834 w 1326105"/>
              <a:gd name="connsiteY3" fmla="*/ 1289239 h 1327954"/>
              <a:gd name="connsiteX4" fmla="*/ 771122 w 1326105"/>
              <a:gd name="connsiteY4" fmla="*/ 599449 h 1327954"/>
              <a:gd name="connsiteX5" fmla="*/ 796840 w 1326105"/>
              <a:gd name="connsiteY5" fmla="*/ 502703 h 1327954"/>
              <a:gd name="connsiteX6" fmla="*/ 823782 w 1326105"/>
              <a:gd name="connsiteY6" fmla="*/ 494129 h 1327954"/>
              <a:gd name="connsiteX7" fmla="*/ 62053 w 1326105"/>
              <a:gd name="connsiteY7" fmla="*/ 598 h 1327954"/>
              <a:gd name="connsiteX8" fmla="*/ 131858 w 1326105"/>
              <a:gd name="connsiteY8" fmla="*/ 34888 h 1327954"/>
              <a:gd name="connsiteX9" fmla="*/ 871615 w 1326105"/>
              <a:gd name="connsiteY9" fmla="*/ 1314729 h 1327954"/>
              <a:gd name="connsiteX10" fmla="*/ 716377 w 1326105"/>
              <a:gd name="connsiteY10" fmla="*/ 1327954 h 1327954"/>
              <a:gd name="connsiteX11" fmla="*/ 9393 w 1326105"/>
              <a:gd name="connsiteY11" fmla="*/ 105918 h 1327954"/>
              <a:gd name="connsiteX12" fmla="*/ 35111 w 1326105"/>
              <a:gd name="connsiteY12" fmla="*/ 9171 h 1327954"/>
              <a:gd name="connsiteX13" fmla="*/ 62053 w 1326105"/>
              <a:gd name="connsiteY13" fmla="*/ 598 h 1327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26105" h="1327954">
                <a:moveTo>
                  <a:pt x="823782" y="494129"/>
                </a:moveTo>
                <a:cubicBezTo>
                  <a:pt x="850724" y="490456"/>
                  <a:pt x="878891" y="503926"/>
                  <a:pt x="893587" y="528419"/>
                </a:cubicBezTo>
                <a:lnTo>
                  <a:pt x="1326105" y="1276011"/>
                </a:lnTo>
                <a:lnTo>
                  <a:pt x="1170834" y="1289239"/>
                </a:lnTo>
                <a:lnTo>
                  <a:pt x="771122" y="599449"/>
                </a:lnTo>
                <a:cubicBezTo>
                  <a:pt x="751528" y="565160"/>
                  <a:pt x="763773" y="522296"/>
                  <a:pt x="796840" y="502703"/>
                </a:cubicBezTo>
                <a:cubicBezTo>
                  <a:pt x="805411" y="497803"/>
                  <a:pt x="815209" y="495354"/>
                  <a:pt x="823782" y="494129"/>
                </a:cubicBezTo>
                <a:close/>
                <a:moveTo>
                  <a:pt x="62053" y="598"/>
                </a:moveTo>
                <a:cubicBezTo>
                  <a:pt x="88995" y="-3076"/>
                  <a:pt x="117162" y="10395"/>
                  <a:pt x="131858" y="34888"/>
                </a:cubicBezTo>
                <a:lnTo>
                  <a:pt x="871615" y="1314729"/>
                </a:lnTo>
                <a:lnTo>
                  <a:pt x="716377" y="1327954"/>
                </a:lnTo>
                <a:lnTo>
                  <a:pt x="9393" y="105918"/>
                </a:lnTo>
                <a:cubicBezTo>
                  <a:pt x="-10201" y="71627"/>
                  <a:pt x="2046" y="28765"/>
                  <a:pt x="35111" y="9171"/>
                </a:cubicBezTo>
                <a:cubicBezTo>
                  <a:pt x="43683" y="5497"/>
                  <a:pt x="52256" y="1823"/>
                  <a:pt x="62053" y="598"/>
                </a:cubicBezTo>
                <a:close/>
              </a:path>
            </a:pathLst>
          </a:custGeom>
          <a:solidFill>
            <a:schemeClr val="accent1"/>
          </a:solidFill>
          <a:ln w="1224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xmlns="" id="{722397EE-1B46-4D59-8023-33A16FD188F2}"/>
              </a:ext>
            </a:extLst>
          </p:cNvPr>
          <p:cNvSpPr/>
          <p:nvPr userDrawn="1"/>
        </p:nvSpPr>
        <p:spPr>
          <a:xfrm>
            <a:off x="5155368" y="1462175"/>
            <a:ext cx="7036633" cy="3322769"/>
          </a:xfrm>
          <a:custGeom>
            <a:avLst/>
            <a:gdLst>
              <a:gd name="connsiteX0" fmla="*/ 0 w 7036633"/>
              <a:gd name="connsiteY0" fmla="*/ 0 h 3322769"/>
              <a:gd name="connsiteX1" fmla="*/ 1888662 w 7036633"/>
              <a:gd name="connsiteY1" fmla="*/ 0 h 3322769"/>
              <a:gd name="connsiteX2" fmla="*/ 5508033 w 7036633"/>
              <a:gd name="connsiteY2" fmla="*/ 0 h 3322769"/>
              <a:gd name="connsiteX3" fmla="*/ 7036633 w 7036633"/>
              <a:gd name="connsiteY3" fmla="*/ 0 h 3322769"/>
              <a:gd name="connsiteX4" fmla="*/ 7036633 w 7036633"/>
              <a:gd name="connsiteY4" fmla="*/ 3322769 h 3322769"/>
              <a:gd name="connsiteX5" fmla="*/ 5508033 w 7036633"/>
              <a:gd name="connsiteY5" fmla="*/ 3322769 h 3322769"/>
              <a:gd name="connsiteX6" fmla="*/ 1888662 w 7036633"/>
              <a:gd name="connsiteY6" fmla="*/ 3322769 h 3322769"/>
              <a:gd name="connsiteX7" fmla="*/ 1861942 w 7036633"/>
              <a:gd name="connsiteY7" fmla="*/ 3322769 h 3322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36633" h="3322769">
                <a:moveTo>
                  <a:pt x="0" y="0"/>
                </a:moveTo>
                <a:lnTo>
                  <a:pt x="1888662" y="0"/>
                </a:lnTo>
                <a:lnTo>
                  <a:pt x="5508033" y="0"/>
                </a:lnTo>
                <a:lnTo>
                  <a:pt x="7036633" y="0"/>
                </a:lnTo>
                <a:lnTo>
                  <a:pt x="7036633" y="3322769"/>
                </a:lnTo>
                <a:lnTo>
                  <a:pt x="5508033" y="3322769"/>
                </a:lnTo>
                <a:lnTo>
                  <a:pt x="1888662" y="3322769"/>
                </a:lnTo>
                <a:lnTo>
                  <a:pt x="1861942" y="3322769"/>
                </a:lnTo>
                <a:close/>
              </a:path>
            </a:pathLst>
          </a:cu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xmlns="" id="{8CB6C888-C368-4B4D-B6DF-F885839E6082}"/>
              </a:ext>
            </a:extLst>
          </p:cNvPr>
          <p:cNvSpPr/>
          <p:nvPr userDrawn="1"/>
        </p:nvSpPr>
        <p:spPr>
          <a:xfrm>
            <a:off x="3515351" y="711200"/>
            <a:ext cx="3503186" cy="4075938"/>
          </a:xfrm>
          <a:custGeom>
            <a:avLst/>
            <a:gdLst>
              <a:gd name="connsiteX0" fmla="*/ 0 w 3503186"/>
              <a:gd name="connsiteY0" fmla="*/ 0 h 4075938"/>
              <a:gd name="connsiteX1" fmla="*/ 1219200 w 3503186"/>
              <a:gd name="connsiteY1" fmla="*/ 0 h 4075938"/>
              <a:gd name="connsiteX2" fmla="*/ 3503186 w 3503186"/>
              <a:gd name="connsiteY2" fmla="*/ 4075938 h 4075938"/>
              <a:gd name="connsiteX3" fmla="*/ 2283986 w 3503186"/>
              <a:gd name="connsiteY3" fmla="*/ 4075938 h 407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3186" h="4075938">
                <a:moveTo>
                  <a:pt x="0" y="0"/>
                </a:moveTo>
                <a:lnTo>
                  <a:pt x="1219200" y="0"/>
                </a:lnTo>
                <a:lnTo>
                  <a:pt x="3503186" y="4075938"/>
                </a:lnTo>
                <a:lnTo>
                  <a:pt x="2283986" y="407593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dirty="0">
              <a:solidFill>
                <a:srgbClr val="000000"/>
              </a:solidFill>
            </a:endParaRPr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0718" y="4198723"/>
            <a:ext cx="10850563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>
            <p:ph type="ctrTitle"/>
          </p:nvPr>
        </p:nvSpPr>
        <p:spPr>
          <a:xfrm>
            <a:off x="670718" y="1253273"/>
            <a:ext cx="10850563" cy="2945450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345939" y="5386788"/>
            <a:ext cx="51745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345939" y="5683059"/>
            <a:ext cx="51745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xmlns="" id="{E97F587D-D75D-4A24-AE8A-BC365E49382D}"/>
              </a:ext>
            </a:extLst>
          </p:cNvPr>
          <p:cNvSpPr/>
          <p:nvPr userDrawn="1"/>
        </p:nvSpPr>
        <p:spPr>
          <a:xfrm rot="292154">
            <a:off x="9126227" y="13973"/>
            <a:ext cx="1711524" cy="1994582"/>
          </a:xfrm>
          <a:custGeom>
            <a:avLst/>
            <a:gdLst>
              <a:gd name="connsiteX0" fmla="*/ 455195 w 1711524"/>
              <a:gd name="connsiteY0" fmla="*/ 13225 h 1994582"/>
              <a:gd name="connsiteX1" fmla="*/ 610432 w 1711524"/>
              <a:gd name="connsiteY1" fmla="*/ 0 h 1994582"/>
              <a:gd name="connsiteX2" fmla="*/ 1702131 w 1711524"/>
              <a:gd name="connsiteY2" fmla="*/ 1888442 h 1994582"/>
              <a:gd name="connsiteX3" fmla="*/ 1676414 w 1711524"/>
              <a:gd name="connsiteY3" fmla="*/ 1985189 h 1994582"/>
              <a:gd name="connsiteX4" fmla="*/ 1579666 w 1711524"/>
              <a:gd name="connsiteY4" fmla="*/ 1959471 h 1994582"/>
              <a:gd name="connsiteX5" fmla="*/ 0 w 1711524"/>
              <a:gd name="connsiteY5" fmla="*/ 52002 h 1994582"/>
              <a:gd name="connsiteX6" fmla="*/ 155252 w 1711524"/>
              <a:gd name="connsiteY6" fmla="*/ 38776 h 1994582"/>
              <a:gd name="connsiteX7" fmla="*/ 940403 w 1711524"/>
              <a:gd name="connsiteY7" fmla="*/ 1396136 h 1994582"/>
              <a:gd name="connsiteX8" fmla="*/ 914685 w 1711524"/>
              <a:gd name="connsiteY8" fmla="*/ 1492882 h 1994582"/>
              <a:gd name="connsiteX9" fmla="*/ 817938 w 1711524"/>
              <a:gd name="connsiteY9" fmla="*/ 1467165 h 199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1524" h="1994582">
                <a:moveTo>
                  <a:pt x="455195" y="13225"/>
                </a:moveTo>
                <a:lnTo>
                  <a:pt x="610432" y="0"/>
                </a:lnTo>
                <a:lnTo>
                  <a:pt x="1702131" y="1888442"/>
                </a:lnTo>
                <a:cubicBezTo>
                  <a:pt x="1721725" y="1922732"/>
                  <a:pt x="1709479" y="1965595"/>
                  <a:pt x="1676414" y="1985189"/>
                </a:cubicBezTo>
                <a:cubicBezTo>
                  <a:pt x="1642123" y="2004783"/>
                  <a:pt x="1599261" y="1992537"/>
                  <a:pt x="1579666" y="1959471"/>
                </a:cubicBezTo>
                <a:close/>
                <a:moveTo>
                  <a:pt x="0" y="52002"/>
                </a:moveTo>
                <a:lnTo>
                  <a:pt x="155252" y="38776"/>
                </a:lnTo>
                <a:lnTo>
                  <a:pt x="940403" y="1396136"/>
                </a:lnTo>
                <a:cubicBezTo>
                  <a:pt x="959997" y="1430426"/>
                  <a:pt x="947751" y="1473288"/>
                  <a:pt x="914685" y="1492882"/>
                </a:cubicBezTo>
                <a:cubicBezTo>
                  <a:pt x="880396" y="1512477"/>
                  <a:pt x="837533" y="1500230"/>
                  <a:pt x="817938" y="1467165"/>
                </a:cubicBezTo>
                <a:close/>
              </a:path>
            </a:pathLst>
          </a:custGeom>
          <a:solidFill>
            <a:schemeClr val="accent1"/>
          </a:solidFill>
          <a:ln w="1224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656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xmlns="" id="{E06B80F0-B3A4-4591-A31C-C7085422BFF0}"/>
              </a:ext>
            </a:extLst>
          </p:cNvPr>
          <p:cNvGrpSpPr/>
          <p:nvPr userDrawn="1"/>
        </p:nvGrpSpPr>
        <p:grpSpPr>
          <a:xfrm>
            <a:off x="-4475" y="711200"/>
            <a:ext cx="12196476" cy="6146800"/>
            <a:chOff x="-4475" y="711200"/>
            <a:chExt cx="12196476" cy="6146800"/>
          </a:xfrm>
        </p:grpSpPr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xmlns="" id="{74282363-1050-4C04-8816-EB6634A0BB64}"/>
                </a:ext>
              </a:extLst>
            </p:cNvPr>
            <p:cNvSpPr/>
            <p:nvPr userDrawn="1"/>
          </p:nvSpPr>
          <p:spPr>
            <a:xfrm flipH="1">
              <a:off x="-4475" y="711200"/>
              <a:ext cx="5174550" cy="6146800"/>
            </a:xfrm>
            <a:custGeom>
              <a:avLst/>
              <a:gdLst>
                <a:gd name="connsiteX0" fmla="*/ 1730139 w 5174550"/>
                <a:gd name="connsiteY0" fmla="*/ 0 h 6146800"/>
                <a:gd name="connsiteX1" fmla="*/ 785190 w 5174550"/>
                <a:gd name="connsiteY1" fmla="*/ 0 h 6146800"/>
                <a:gd name="connsiteX2" fmla="*/ 510939 w 5174550"/>
                <a:gd name="connsiteY2" fmla="*/ 0 h 6146800"/>
                <a:gd name="connsiteX3" fmla="*/ 434009 w 5174550"/>
                <a:gd name="connsiteY3" fmla="*/ 0 h 6146800"/>
                <a:gd name="connsiteX4" fmla="*/ 0 w 5174550"/>
                <a:gd name="connsiteY4" fmla="*/ 774522 h 6146800"/>
                <a:gd name="connsiteX5" fmla="*/ 3010401 w 5174550"/>
                <a:gd name="connsiteY5" fmla="*/ 6146800 h 6146800"/>
                <a:gd name="connsiteX6" fmla="*/ 3955350 w 5174550"/>
                <a:gd name="connsiteY6" fmla="*/ 6146800 h 6146800"/>
                <a:gd name="connsiteX7" fmla="*/ 4229601 w 5174550"/>
                <a:gd name="connsiteY7" fmla="*/ 6146800 h 6146800"/>
                <a:gd name="connsiteX8" fmla="*/ 5174550 w 5174550"/>
                <a:gd name="connsiteY8" fmla="*/ 6146800 h 614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74550" h="6146800">
                  <a:moveTo>
                    <a:pt x="1730139" y="0"/>
                  </a:moveTo>
                  <a:lnTo>
                    <a:pt x="785190" y="0"/>
                  </a:lnTo>
                  <a:lnTo>
                    <a:pt x="510939" y="0"/>
                  </a:lnTo>
                  <a:lnTo>
                    <a:pt x="434009" y="0"/>
                  </a:lnTo>
                  <a:lnTo>
                    <a:pt x="0" y="774522"/>
                  </a:lnTo>
                  <a:lnTo>
                    <a:pt x="3010401" y="6146800"/>
                  </a:lnTo>
                  <a:lnTo>
                    <a:pt x="3955350" y="6146800"/>
                  </a:lnTo>
                  <a:lnTo>
                    <a:pt x="4229601" y="6146800"/>
                  </a:lnTo>
                  <a:lnTo>
                    <a:pt x="5174550" y="6146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 dirty="0"/>
            </a:p>
          </p:txBody>
        </p:sp>
        <p:sp>
          <p:nvSpPr>
            <p:cNvPr id="10" name="Rectangle 2_2">
              <a:extLst>
                <a:ext uri="{FF2B5EF4-FFF2-40B4-BE49-F238E27FC236}">
                  <a16:creationId xmlns:a16="http://schemas.microsoft.com/office/drawing/2014/main" xmlns="" id="{FCBF4AA6-C61D-4EA2-A4B7-F78556734AAE}"/>
                </a:ext>
              </a:extLst>
            </p:cNvPr>
            <p:cNvSpPr/>
            <p:nvPr userDrawn="1"/>
          </p:nvSpPr>
          <p:spPr>
            <a:xfrm>
              <a:off x="0" y="1462175"/>
              <a:ext cx="12192000" cy="3322769"/>
            </a:xfrm>
            <a:prstGeom prst="rect">
              <a:avLst/>
            </a:prstGeom>
            <a:blipFill>
              <a:blip r:embed="rId2"/>
              <a:stretch>
                <a:fillRect t="-225861" b="-224141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xmlns="" id="{9F002836-03E3-4C94-AEA6-2407AC42F847}"/>
                </a:ext>
              </a:extLst>
            </p:cNvPr>
            <p:cNvSpPr/>
            <p:nvPr userDrawn="1"/>
          </p:nvSpPr>
          <p:spPr>
            <a:xfrm>
              <a:off x="5155368" y="1462175"/>
              <a:ext cx="7036633" cy="3322769"/>
            </a:xfrm>
            <a:custGeom>
              <a:avLst/>
              <a:gdLst>
                <a:gd name="connsiteX0" fmla="*/ 0 w 7036633"/>
                <a:gd name="connsiteY0" fmla="*/ 0 h 3322769"/>
                <a:gd name="connsiteX1" fmla="*/ 1888662 w 7036633"/>
                <a:gd name="connsiteY1" fmla="*/ 0 h 3322769"/>
                <a:gd name="connsiteX2" fmla="*/ 5508033 w 7036633"/>
                <a:gd name="connsiteY2" fmla="*/ 0 h 3322769"/>
                <a:gd name="connsiteX3" fmla="*/ 7036633 w 7036633"/>
                <a:gd name="connsiteY3" fmla="*/ 0 h 3322769"/>
                <a:gd name="connsiteX4" fmla="*/ 7036633 w 7036633"/>
                <a:gd name="connsiteY4" fmla="*/ 3322769 h 3322769"/>
                <a:gd name="connsiteX5" fmla="*/ 5508033 w 7036633"/>
                <a:gd name="connsiteY5" fmla="*/ 3322769 h 3322769"/>
                <a:gd name="connsiteX6" fmla="*/ 1888662 w 7036633"/>
                <a:gd name="connsiteY6" fmla="*/ 3322769 h 3322769"/>
                <a:gd name="connsiteX7" fmla="*/ 1861942 w 7036633"/>
                <a:gd name="connsiteY7" fmla="*/ 3322769 h 3322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6633" h="3322769">
                  <a:moveTo>
                    <a:pt x="0" y="0"/>
                  </a:moveTo>
                  <a:lnTo>
                    <a:pt x="1888662" y="0"/>
                  </a:lnTo>
                  <a:lnTo>
                    <a:pt x="5508033" y="0"/>
                  </a:lnTo>
                  <a:lnTo>
                    <a:pt x="7036633" y="0"/>
                  </a:lnTo>
                  <a:lnTo>
                    <a:pt x="7036633" y="3322769"/>
                  </a:lnTo>
                  <a:lnTo>
                    <a:pt x="5508033" y="3322769"/>
                  </a:lnTo>
                  <a:lnTo>
                    <a:pt x="1888662" y="3322769"/>
                  </a:lnTo>
                  <a:lnTo>
                    <a:pt x="1861942" y="3322769"/>
                  </a:lnTo>
                  <a:close/>
                </a:path>
              </a:pathLst>
            </a:custGeom>
            <a:solidFill>
              <a:schemeClr val="tx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xmlns="" id="{FF6CB9C7-C49E-4EC1-9C18-CB671ACE6AE1}"/>
                </a:ext>
              </a:extLst>
            </p:cNvPr>
            <p:cNvSpPr/>
            <p:nvPr userDrawn="1"/>
          </p:nvSpPr>
          <p:spPr>
            <a:xfrm>
              <a:off x="3515351" y="711200"/>
              <a:ext cx="3503186" cy="4075938"/>
            </a:xfrm>
            <a:custGeom>
              <a:avLst/>
              <a:gdLst>
                <a:gd name="connsiteX0" fmla="*/ 0 w 3503186"/>
                <a:gd name="connsiteY0" fmla="*/ 0 h 4075938"/>
                <a:gd name="connsiteX1" fmla="*/ 1219200 w 3503186"/>
                <a:gd name="connsiteY1" fmla="*/ 0 h 4075938"/>
                <a:gd name="connsiteX2" fmla="*/ 3503186 w 3503186"/>
                <a:gd name="connsiteY2" fmla="*/ 4075938 h 4075938"/>
                <a:gd name="connsiteX3" fmla="*/ 2283986 w 3503186"/>
                <a:gd name="connsiteY3" fmla="*/ 4075938 h 4075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3186" h="4075938">
                  <a:moveTo>
                    <a:pt x="0" y="0"/>
                  </a:moveTo>
                  <a:lnTo>
                    <a:pt x="1219200" y="0"/>
                  </a:lnTo>
                  <a:lnTo>
                    <a:pt x="3503186" y="4075938"/>
                  </a:lnTo>
                  <a:lnTo>
                    <a:pt x="2283986" y="4075938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 dirty="0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64300" y="1582058"/>
            <a:ext cx="5056981" cy="2364686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629523" y="4386848"/>
            <a:ext cx="389175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7629525" y="4090577"/>
            <a:ext cx="389175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4257315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9737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en-US" altLang="zh-CN" smtClean="0"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1712490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2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609600" y="274638"/>
            <a:ext cx="10972800" cy="531495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grpSp>
        <p:nvGrpSpPr>
          <p:cNvPr id="7" name="组合 2"/>
          <p:cNvGrpSpPr/>
          <p:nvPr userDrawn="1"/>
        </p:nvGrpSpPr>
        <p:grpSpPr>
          <a:xfrm>
            <a:off x="0" y="679743"/>
            <a:ext cx="12192000" cy="60959"/>
            <a:chOff x="285720" y="998520"/>
            <a:chExt cx="8429684" cy="73026"/>
          </a:xfrm>
        </p:grpSpPr>
        <p:cxnSp>
          <p:nvCxnSpPr>
            <p:cNvPr id="8" name="直接连接符 7"/>
            <p:cNvCxnSpPr/>
            <p:nvPr/>
          </p:nvCxnSpPr>
          <p:spPr>
            <a:xfrm>
              <a:off x="285720" y="998520"/>
              <a:ext cx="8429684" cy="1588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/>
          </p:nvCxnSpPr>
          <p:spPr>
            <a:xfrm>
              <a:off x="285720" y="1069958"/>
              <a:ext cx="8429684" cy="1588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0" name="矩形 9">
            <a:extLst>
              <a:ext uri="{FF2B5EF4-FFF2-40B4-BE49-F238E27FC236}">
                <a16:creationId xmlns:a16="http://schemas.microsoft.com/office/drawing/2014/main" xmlns="" id="{626F3D86-D6A5-4DD0-99B5-B4BE9AE16878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3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  <a:prstGeom prst="rect">
            <a:avLst/>
          </a:prstGeom>
        </p:spPr>
        <p:txBody>
          <a:bodyPr/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36213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45101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1" y="4092559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2617296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1934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48DE95B4-AE0C-7EEC-4C08-E3F3FC75B62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4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A5A449F4-9A94-8C4C-4BB5-56A0788520E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C61C9440-2E33-5BEB-02DF-A72A9F978542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FFFFFF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164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E9319D93-67E5-3125-DE64-EF38FC49176D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49DCFADA-E657-B5E1-FD02-3EAE71B0B1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6FB2DC48-2E93-B5D0-AE24-7D15D595E22D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70132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FE344FE-1712-3FFF-06CE-C147066E9773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6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84CD5428-F77F-F979-825C-E800A8F606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A2104ED9-280F-79FF-2AD0-B60FA9277C17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54841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70D9E999-82D5-ED7E-3EBD-A8B9A6F5C161}"/>
              </a:ext>
            </a:extLst>
          </p:cNvPr>
          <p:cNvGrpSpPr/>
          <p:nvPr userDrawn="1"/>
        </p:nvGrpSpPr>
        <p:grpSpPr>
          <a:xfrm>
            <a:off x="0" y="-840"/>
            <a:ext cx="12192000" cy="6858840"/>
            <a:chOff x="0" y="-840"/>
            <a:chExt cx="12192000" cy="6858840"/>
          </a:xfrm>
        </p:grpSpPr>
        <p:pic>
          <p:nvPicPr>
            <p:cNvPr id="5" name="Picture 7" descr="C:\Users\Administrator\Desktop\嘎\新建文件夹\百年资产PPT嘎111-04.jpg">
              <a:extLst>
                <a:ext uri="{FF2B5EF4-FFF2-40B4-BE49-F238E27FC236}">
                  <a16:creationId xmlns:a16="http://schemas.microsoft.com/office/drawing/2014/main" xmlns="" id="{AEC97D98-7F65-AB3D-9AF6-276DAA7102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840"/>
              <a:ext cx="12192000" cy="685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7D0D1C03-9540-24DB-8636-D0DF1E638050}"/>
                </a:ext>
              </a:extLst>
            </p:cNvPr>
            <p:cNvSpPr/>
            <p:nvPr/>
          </p:nvSpPr>
          <p:spPr>
            <a:xfrm>
              <a:off x="554737" y="347241"/>
              <a:ext cx="3577425" cy="363507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AU" sz="16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9575" y="665249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 dirty="0">
                <a:solidFill>
                  <a:srgbClr val="000000"/>
                </a:solidFill>
              </a:rPr>
              <a:t>Source: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14659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9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11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heme" Target="../theme/theme2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4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8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6" descr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32438" y="6245667"/>
            <a:ext cx="1824205" cy="4192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5" name="组合 2"/>
          <p:cNvGrpSpPr/>
          <p:nvPr/>
        </p:nvGrpSpPr>
        <p:grpSpPr>
          <a:xfrm>
            <a:off x="-3" y="679743"/>
            <a:ext cx="12192004" cy="60960"/>
            <a:chOff x="-1" y="0"/>
            <a:chExt cx="9144002" cy="45719"/>
          </a:xfrm>
        </p:grpSpPr>
        <p:sp>
          <p:nvSpPr>
            <p:cNvPr id="3" name="直接连接符 14"/>
            <p:cNvSpPr/>
            <p:nvPr/>
          </p:nvSpPr>
          <p:spPr>
            <a:xfrm>
              <a:off x="-2" y="0"/>
              <a:ext cx="9144003" cy="995"/>
            </a:xfrm>
            <a:prstGeom prst="line">
              <a:avLst/>
            </a:prstGeom>
            <a:noFill/>
            <a:ln w="19050" cap="flat">
              <a:solidFill>
                <a:srgbClr val="C0000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2400"/>
            </a:p>
          </p:txBody>
        </p:sp>
        <p:sp>
          <p:nvSpPr>
            <p:cNvPr id="4" name="直接连接符 15"/>
            <p:cNvSpPr/>
            <p:nvPr/>
          </p:nvSpPr>
          <p:spPr>
            <a:xfrm>
              <a:off x="-2" y="44725"/>
              <a:ext cx="9144003" cy="995"/>
            </a:xfrm>
            <a:prstGeom prst="line">
              <a:avLst/>
            </a:prstGeom>
            <a:noFill/>
            <a:ln w="19050" cap="flat">
              <a:solidFill>
                <a:srgbClr val="C0000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2400"/>
            </a:p>
          </p:txBody>
        </p:sp>
      </p:grpSp>
      <p:sp>
        <p:nvSpPr>
          <p:cNvPr id="6" name="正文级别 1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7" name="标题文本"/>
          <p:cNvSpPr txBox="1">
            <a:spLocks noGrp="1"/>
          </p:cNvSpPr>
          <p:nvPr>
            <p:ph type="title"/>
          </p:nvPr>
        </p:nvSpPr>
        <p:spPr>
          <a:xfrm>
            <a:off x="1826684" y="1371600"/>
            <a:ext cx="9753601" cy="465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8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570102" y="6309319"/>
            <a:ext cx="440213" cy="417855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>
            <a:spAutoFit/>
          </a:bodyPr>
          <a:lstStyle>
            <a:lvl1pPr algn="ctr">
              <a:defRPr sz="2133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xmlns="" id="{0C8A2F2A-3C72-7804-2092-3D4551300A51}"/>
              </a:ext>
            </a:extLst>
          </p:cNvPr>
          <p:cNvSpPr/>
          <p:nvPr userDrawn="1"/>
        </p:nvSpPr>
        <p:spPr>
          <a:xfrm>
            <a:off x="11884121" y="6060525"/>
            <a:ext cx="307879" cy="1107990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indent="0" algn="l" defTabSz="325111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6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="" id="{C0BE011F-3B26-B913-81F3-DADAC585866A}"/>
              </a:ext>
            </a:extLst>
          </p:cNvPr>
          <p:cNvSpPr txBox="1">
            <a:spLocks/>
          </p:cNvSpPr>
          <p:nvPr userDrawn="1"/>
        </p:nvSpPr>
        <p:spPr>
          <a:xfrm>
            <a:off x="11844715" y="6371039"/>
            <a:ext cx="373175" cy="369327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1pPr>
            <a:lvl2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0C913308-F349-4B6D-A68A-DD1791B4A57B}" type="slidenum">
              <a:rPr lang="zh-CN" altLang="en-US" sz="1600" smtClean="0"/>
              <a:pPr/>
              <a:t>‹#›</a:t>
            </a:fld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20202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688" r:id="rId4"/>
  </p:sldLayoutIdLst>
  <p:transition spd="med"/>
  <p:hf hdr="0" ftr="0" dt="0"/>
  <p:txStyles>
    <p:titleStyle>
      <a:lvl1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ctr" defTabSz="12191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8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457189" marR="0" indent="-457189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045002" marR="0" indent="-435417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–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625559" marR="0" indent="-406390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316422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–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926007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»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535592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145176" marR="0" indent="-487668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4754760" marR="0" indent="-487666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364345" marR="0" indent="-487666" algn="l" defTabSz="1219170" rtl="0" latinLnBrk="0">
        <a:lnSpc>
          <a:spcPct val="100000"/>
        </a:lnSpc>
        <a:spcBef>
          <a:spcPts val="933"/>
        </a:spcBef>
        <a:spcAft>
          <a:spcPts val="0"/>
        </a:spcAft>
        <a:buClrTx/>
        <a:buSzPct val="100000"/>
        <a:buFont typeface="Arial"/>
        <a:buChar char="•"/>
        <a:tabLst/>
        <a:defRPr sz="4267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325111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3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33" imgW="413" imgH="416" progId="TCLayout.ActiveDocument.1">
                  <p:embed/>
                </p:oleObj>
              </mc:Choice>
              <mc:Fallback>
                <p:oleObj name="think-cell Slide" r:id="rId3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554736" y="172212"/>
            <a:ext cx="9121699" cy="54541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 err="1">
                <a:solidFill>
                  <a:srgbClr val="000000"/>
                </a:solidFill>
              </a:rPr>
              <a:t>AboveChartExhibitTitle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b="0" dirty="0" err="1">
                <a:solidFill>
                  <a:srgbClr val="000000"/>
                </a:solidFill>
              </a:rPr>
              <a:t>UnitofMeasure</a:t>
            </a: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xmlns="" id="{13057103-D115-DADA-2EB0-0FCD59AB2391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8" name="Legend1" hidden="1">
              <a:extLst>
                <a:ext uri="{FF2B5EF4-FFF2-40B4-BE49-F238E27FC236}">
                  <a16:creationId xmlns:a16="http://schemas.microsoft.com/office/drawing/2014/main" xmlns="" id="{E40D27A3-1978-B2BA-3C27-66E19A7F7894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9" name="Legend2" hidden="1">
              <a:extLst>
                <a:ext uri="{FF2B5EF4-FFF2-40B4-BE49-F238E27FC236}">
                  <a16:creationId xmlns:a16="http://schemas.microsoft.com/office/drawing/2014/main" xmlns="" id="{FD94417F-B0A4-94B9-111E-0C392E9AACA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" name="Legend3" hidden="1">
              <a:extLst>
                <a:ext uri="{FF2B5EF4-FFF2-40B4-BE49-F238E27FC236}">
                  <a16:creationId xmlns:a16="http://schemas.microsoft.com/office/drawing/2014/main" xmlns="" id="{39A3A972-E563-B79B-BADB-8F3B17730D90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" name="LineLegend3" hidden="1">
              <a:extLst>
                <a:ext uri="{FF2B5EF4-FFF2-40B4-BE49-F238E27FC236}">
                  <a16:creationId xmlns:a16="http://schemas.microsoft.com/office/drawing/2014/main" xmlns="" id="{6F3943BA-41BD-9DDA-0BFB-43336609183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2" name="LineLegend2" hidden="1">
              <a:extLst>
                <a:ext uri="{FF2B5EF4-FFF2-40B4-BE49-F238E27FC236}">
                  <a16:creationId xmlns:a16="http://schemas.microsoft.com/office/drawing/2014/main" xmlns="" id="{AE8AB6FF-872C-5D81-8C7B-176A9AAE8E2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3" name="LineLegend1" hidden="1">
              <a:extLst>
                <a:ext uri="{FF2B5EF4-FFF2-40B4-BE49-F238E27FC236}">
                  <a16:creationId xmlns:a16="http://schemas.microsoft.com/office/drawing/2014/main" xmlns="" id="{AC4D128D-6CEA-3945-3844-F5AAE1B168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LegendMoons" hidden="1">
            <a:extLst>
              <a:ext uri="{FF2B5EF4-FFF2-40B4-BE49-F238E27FC236}">
                <a16:creationId xmlns:a16="http://schemas.microsoft.com/office/drawing/2014/main" xmlns="" id="{3371E374-0BA4-5B34-0757-CFCCD235A60F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" name="Legend1" hidden="1">
              <a:extLst>
                <a:ext uri="{FF2B5EF4-FFF2-40B4-BE49-F238E27FC236}">
                  <a16:creationId xmlns:a16="http://schemas.microsoft.com/office/drawing/2014/main" xmlns="" id="{756BFF61-0575-9FA8-E44E-360FD7B1F6CF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Legend2" hidden="1">
              <a:extLst>
                <a:ext uri="{FF2B5EF4-FFF2-40B4-BE49-F238E27FC236}">
                  <a16:creationId xmlns:a16="http://schemas.microsoft.com/office/drawing/2014/main" xmlns="" id="{DEFD1EC6-663F-2BA2-0DF6-3756FCE6888D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Legend3" hidden="1">
              <a:extLst>
                <a:ext uri="{FF2B5EF4-FFF2-40B4-BE49-F238E27FC236}">
                  <a16:creationId xmlns:a16="http://schemas.microsoft.com/office/drawing/2014/main" xmlns="" id="{001274AD-256D-2E4A-613A-50A341751E74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4" hidden="1">
              <a:extLst>
                <a:ext uri="{FF2B5EF4-FFF2-40B4-BE49-F238E27FC236}">
                  <a16:creationId xmlns:a16="http://schemas.microsoft.com/office/drawing/2014/main" xmlns="" id="{6D9DC179-B308-2F79-8255-CB9BD67BE615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Legend5" hidden="1">
              <a:extLst>
                <a:ext uri="{FF2B5EF4-FFF2-40B4-BE49-F238E27FC236}">
                  <a16:creationId xmlns:a16="http://schemas.microsoft.com/office/drawing/2014/main" xmlns="" id="{5C9EBC3F-1C5A-EBC4-7D40-320412B4A9E4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21" name="MoonLegend1" hidden="1">
              <a:extLst>
                <a:ext uri="{FF2B5EF4-FFF2-40B4-BE49-F238E27FC236}">
                  <a16:creationId xmlns:a16="http://schemas.microsoft.com/office/drawing/2014/main" xmlns="" id="{049C7414-BE95-0191-B349-1615B80842B3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4" name="Oval 33" hidden="1">
                <a:extLst>
                  <a:ext uri="{FF2B5EF4-FFF2-40B4-BE49-F238E27FC236}">
                    <a16:creationId xmlns:a16="http://schemas.microsoft.com/office/drawing/2014/main" xmlns="" id="{BEB9D1A0-FA07-9C2B-3185-AEA748F773F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Arc 34" hidden="1">
                <a:extLst>
                  <a:ext uri="{FF2B5EF4-FFF2-40B4-BE49-F238E27FC236}">
                    <a16:creationId xmlns:a16="http://schemas.microsoft.com/office/drawing/2014/main" xmlns="" id="{95AC73D0-BB80-C586-8704-4CFB89103A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MoonLegend2" hidden="1">
              <a:extLst>
                <a:ext uri="{FF2B5EF4-FFF2-40B4-BE49-F238E27FC236}">
                  <a16:creationId xmlns:a16="http://schemas.microsoft.com/office/drawing/2014/main" xmlns="" id="{727AAED1-383E-4C4A-DF0C-0BF7A02D8948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2" name="Oval 31" hidden="1">
                <a:extLst>
                  <a:ext uri="{FF2B5EF4-FFF2-40B4-BE49-F238E27FC236}">
                    <a16:creationId xmlns:a16="http://schemas.microsoft.com/office/drawing/2014/main" xmlns="" id="{D018C4B7-86A0-3B18-C221-FFEC7E84E54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Arc 32" hidden="1">
                <a:extLst>
                  <a:ext uri="{FF2B5EF4-FFF2-40B4-BE49-F238E27FC236}">
                    <a16:creationId xmlns:a16="http://schemas.microsoft.com/office/drawing/2014/main" xmlns="" id="{FD435453-8EFE-2A6C-3650-15040DB209D1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3" name="MoonLegend3" hidden="1">
              <a:extLst>
                <a:ext uri="{FF2B5EF4-FFF2-40B4-BE49-F238E27FC236}">
                  <a16:creationId xmlns:a16="http://schemas.microsoft.com/office/drawing/2014/main" xmlns="" id="{1CC33BAC-DE32-D2A0-4AD9-F923A9CB60A5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" name="Oval 29" hidden="1">
                <a:extLst>
                  <a:ext uri="{FF2B5EF4-FFF2-40B4-BE49-F238E27FC236}">
                    <a16:creationId xmlns:a16="http://schemas.microsoft.com/office/drawing/2014/main" xmlns="" id="{6E33E2B0-FC0B-B53A-8A62-4CC1A84A9B7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Arc 30" hidden="1">
                <a:extLst>
                  <a:ext uri="{FF2B5EF4-FFF2-40B4-BE49-F238E27FC236}">
                    <a16:creationId xmlns:a16="http://schemas.microsoft.com/office/drawing/2014/main" xmlns="" id="{A545051D-4B10-B9D8-6C55-A2364F0F90C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4" name="MoonLegend4" hidden="1">
              <a:extLst>
                <a:ext uri="{FF2B5EF4-FFF2-40B4-BE49-F238E27FC236}">
                  <a16:creationId xmlns:a16="http://schemas.microsoft.com/office/drawing/2014/main" xmlns="" id="{379404D8-D7C1-5751-C53C-AD85305E529D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" name="Oval 27" hidden="1">
                <a:extLst>
                  <a:ext uri="{FF2B5EF4-FFF2-40B4-BE49-F238E27FC236}">
                    <a16:creationId xmlns:a16="http://schemas.microsoft.com/office/drawing/2014/main" xmlns="" id="{FBA4E0A2-7BE8-8927-DEBA-9ED5E9CDD7CB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rc 28" hidden="1">
                <a:extLst>
                  <a:ext uri="{FF2B5EF4-FFF2-40B4-BE49-F238E27FC236}">
                    <a16:creationId xmlns:a16="http://schemas.microsoft.com/office/drawing/2014/main" xmlns="" id="{E1DC12A8-1993-A2C7-9737-76BD7881BAE2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" name="MoonLegend5" hidden="1">
              <a:extLst>
                <a:ext uri="{FF2B5EF4-FFF2-40B4-BE49-F238E27FC236}">
                  <a16:creationId xmlns:a16="http://schemas.microsoft.com/office/drawing/2014/main" xmlns="" id="{0F48F81E-C38C-8B4D-B09D-BBEB9CD13CDE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6" name="Oval 25" hidden="1">
                <a:extLst>
                  <a:ext uri="{FF2B5EF4-FFF2-40B4-BE49-F238E27FC236}">
                    <a16:creationId xmlns:a16="http://schemas.microsoft.com/office/drawing/2014/main" xmlns="" id="{1E84E310-6B41-86BA-63F9-CC514DF7C1F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Arc 26" hidden="1">
                <a:extLst>
                  <a:ext uri="{FF2B5EF4-FFF2-40B4-BE49-F238E27FC236}">
                    <a16:creationId xmlns:a16="http://schemas.microsoft.com/office/drawing/2014/main" xmlns="" id="{1DB782AB-D0B5-CA20-6A2A-1A5B028C33A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6" name="LegendBoxes" hidden="1">
            <a:extLst>
              <a:ext uri="{FF2B5EF4-FFF2-40B4-BE49-F238E27FC236}">
                <a16:creationId xmlns:a16="http://schemas.microsoft.com/office/drawing/2014/main" xmlns="" id="{118ED783-9E8B-2463-AF07-BF6B2F41FC3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37" name="RectangleLegend1" hidden="1">
              <a:extLst>
                <a:ext uri="{FF2B5EF4-FFF2-40B4-BE49-F238E27FC236}">
                  <a16:creationId xmlns:a16="http://schemas.microsoft.com/office/drawing/2014/main" xmlns="" id="{F441E6F5-13B9-B8AC-F77E-5982D9E6A5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38" name="RectangleLegend2" hidden="1">
              <a:extLst>
                <a:ext uri="{FF2B5EF4-FFF2-40B4-BE49-F238E27FC236}">
                  <a16:creationId xmlns:a16="http://schemas.microsoft.com/office/drawing/2014/main" xmlns="" id="{2095D635-9511-7425-8AC0-1A4D07998787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39" name="RectangleLegend3" hidden="1">
              <a:extLst>
                <a:ext uri="{FF2B5EF4-FFF2-40B4-BE49-F238E27FC236}">
                  <a16:creationId xmlns:a16="http://schemas.microsoft.com/office/drawing/2014/main" xmlns="" id="{9C55D2FB-82E2-00AC-9AFD-36EAB173B21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0" name="RectangleLegend4" hidden="1">
              <a:extLst>
                <a:ext uri="{FF2B5EF4-FFF2-40B4-BE49-F238E27FC236}">
                  <a16:creationId xmlns:a16="http://schemas.microsoft.com/office/drawing/2014/main" xmlns="" id="{4D167DFF-781B-D46B-BC77-AF67CC9A5C2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1" name="RectangleLegend5" hidden="1">
              <a:extLst>
                <a:ext uri="{FF2B5EF4-FFF2-40B4-BE49-F238E27FC236}">
                  <a16:creationId xmlns:a16="http://schemas.microsoft.com/office/drawing/2014/main" xmlns="" id="{F3C9CA53-6BB2-147F-F865-C7E3AB5D93F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42" name="Legend1" hidden="1">
              <a:extLst>
                <a:ext uri="{FF2B5EF4-FFF2-40B4-BE49-F238E27FC236}">
                  <a16:creationId xmlns:a16="http://schemas.microsoft.com/office/drawing/2014/main" xmlns="" id="{DE188F18-893F-B452-903B-9BF577919B33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3" name="Legend2" hidden="1">
              <a:extLst>
                <a:ext uri="{FF2B5EF4-FFF2-40B4-BE49-F238E27FC236}">
                  <a16:creationId xmlns:a16="http://schemas.microsoft.com/office/drawing/2014/main" xmlns="" id="{7C18555F-998D-AE1F-95D2-115C438ECB01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4" name="Legend3" hidden="1">
              <a:extLst>
                <a:ext uri="{FF2B5EF4-FFF2-40B4-BE49-F238E27FC236}">
                  <a16:creationId xmlns:a16="http://schemas.microsoft.com/office/drawing/2014/main" xmlns="" id="{7D7F2664-3266-C5DE-E6FD-CCCD0AA53D8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5" name="Legend4" hidden="1">
              <a:extLst>
                <a:ext uri="{FF2B5EF4-FFF2-40B4-BE49-F238E27FC236}">
                  <a16:creationId xmlns:a16="http://schemas.microsoft.com/office/drawing/2014/main" xmlns="" id="{7D5D248B-157A-9419-8F59-43424C03BB46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Legend5" hidden="1">
              <a:extLst>
                <a:ext uri="{FF2B5EF4-FFF2-40B4-BE49-F238E27FC236}">
                  <a16:creationId xmlns:a16="http://schemas.microsoft.com/office/drawing/2014/main" xmlns="" id="{82DAF5B6-8D72-E061-572D-7ECA5007BB45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8869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图片 2" descr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46" name="图片 9" descr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106" y="5924362"/>
            <a:ext cx="3218599" cy="741543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文本框 4"/>
          <p:cNvSpPr txBox="1"/>
          <p:nvPr/>
        </p:nvSpPr>
        <p:spPr>
          <a:xfrm>
            <a:off x="5265009" y="3059102"/>
            <a:ext cx="1661987" cy="12311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60957" tIns="60957" rIns="60957" bIns="60957">
            <a:spAutoFit/>
          </a:bodyPr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资产配置部</a:t>
            </a:r>
            <a:endParaRPr kumimoji="0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2025.12.1</a:t>
            </a:r>
            <a:endParaRPr kumimoji="0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9" name="文本框 8"/>
          <p:cNvSpPr txBox="1"/>
          <p:nvPr/>
        </p:nvSpPr>
        <p:spPr>
          <a:xfrm>
            <a:off x="7502302" y="5925278"/>
            <a:ext cx="4534569" cy="656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60957" tIns="60957" rIns="60957" bIns="60957">
            <a:spAutoFit/>
          </a:bodyPr>
          <a:lstStyle/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u="sng">
                <a:solidFill>
                  <a:srgbClr val="262626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1067" b="0" i="0" u="sng" strike="noStrike" kern="0" cap="none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阅读本文档即被视认为同意遵守以下条款</a:t>
            </a:r>
            <a:endParaRPr kumimoji="0" sz="1067" b="0" i="0" u="sng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百年保险资管对提交的所有文档享有全部著作权和邻接权，对未经本公司书面许可擅自改编、复制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模仿、剽窃、抄袭或为牟利而以其他方式使用上述作品内容的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  <a:p>
            <a:pPr marL="0" marR="0" lvl="0" indent="0" algn="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rgbClr val="808080"/>
                </a:solidFill>
                <a:latin typeface="华文中宋"/>
                <a:ea typeface="华文中宋"/>
                <a:cs typeface="华文中宋"/>
                <a:sym typeface="华文中宋"/>
              </a:defRPr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宋体"/>
                <a:cs typeface="+mn-ea"/>
                <a:sym typeface="+mn-lt"/>
              </a:rPr>
              <a:t>本公司讲严格追究侵权者的法律责任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宋体"/>
              <a:cs typeface="+mn-ea"/>
              <a:sym typeface="+mn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9106" y="1851685"/>
            <a:ext cx="11544300" cy="77975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2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  <a:sym typeface="+mn-lt"/>
              </a:rPr>
              <a:t>宏观因子择时模型与情绪指标择时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51FF4F01-2D3D-4BD3-91BA-81FB1D5E927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5947676" y="8568419"/>
            <a:ext cx="206143" cy="338550"/>
          </a:xfrm>
        </p:spPr>
        <p:txBody>
          <a:bodyPr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altLang="zh-CN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ctr" defTabSz="325111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zh-CN" sz="1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710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BA676385-3BCA-B757-F4E0-2D2455F1A1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40F2CA73-1ACF-757A-55E3-F61C02469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4943BB4E-78C4-9B49-8AE0-43F21A3821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跌停数量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26179439-BCD8-7D02-463C-4C726D04F82B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跌停数量占比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0.00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中性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40732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FF62C43-D645-B15D-48E7-8435E0845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A5B4A9FD-90E2-C822-DB5D-DC4D2116F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695355BC-5110-3FDD-8503-91652B26FD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两融成交额占比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28FB86F2-A7D7-1C1A-1FBC-589C2C95E4B5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两融成交额占比分位数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83.7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最新信号为中性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13848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A979A6E-BC3B-7B6A-92F9-1EEC9F8D72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ED81159F-DA23-4CDB-7791-A05CF7BAB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F910461C-0711-E172-5880-37CDA78B79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融资净买入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673CB886-8021-B1A3-19CD-3718F77C16F7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融资净买入分位数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lang="en-US" altLang="zh-CN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57.9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中性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385887"/>
            <a:ext cx="1036320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6947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23FEECDC-F511-A52D-14B8-9EA593F9F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78B8CE3E-369D-3849-34D8-BEAA3F449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7CA46D70-8AAF-BE3A-E5A9-433A3412B5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陆股通成交额占比分位数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2F8B0183-D030-83C2-F069-185CD2BACC6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陆股通成交额占比分位数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lang="en-US" altLang="zh-CN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18.8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强烈看空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76093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F4243E1-4F1F-FE9F-B3C4-4836B8882A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C5358526-7886-86FD-0EDD-1C33B66D8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F1827992-2BC1-3100-34B3-F3F6383BA7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30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日</a:t>
            </a: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RSI</a:t>
            </a:r>
            <a:endParaRPr lang="zh-CN" altLang="en-US" sz="2667" b="1" kern="0" dirty="0">
              <a:solidFill>
                <a:srgbClr val="C00000"/>
              </a:solidFill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38889BB0-F196-8FCE-B3FD-815E89CA1258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0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日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RSI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lang="en-US" altLang="zh-CN" sz="1450" kern="0" dirty="0" smtClean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50.91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信号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为小幅看空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84925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180DC80-1BE5-55EB-A331-7DDAAD663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33C0563F-F841-D4B0-40E8-D07349590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5A55AD09-04E7-65EE-DB6E-182FCB5BBF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股权风险溢价</a:t>
            </a: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ERP</a:t>
            </a:r>
            <a:endParaRPr lang="zh-CN" altLang="en-US" sz="2667" b="1" kern="0" dirty="0">
              <a:solidFill>
                <a:srgbClr val="C00000"/>
              </a:solidFill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C336D3B1-79D5-ABE7-952E-9C858CAF439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上证指数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ERP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4.30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信号为看空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385887"/>
            <a:ext cx="1036320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1107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C337D34-83D0-CE84-30E9-06F6D92889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E89A8487-B749-D9A0-C4CF-2CAAFADE2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47999" y="6007145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43A77532-6C60-8E74-5F60-267D36C6FB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当前宏观择时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模型转为中性，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情绪择时模型转为看空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xmlns="" id="{A0F5529F-3471-6062-E490-335E012F2CC9}"/>
              </a:ext>
            </a:extLst>
          </p:cNvPr>
          <p:cNvSpPr/>
          <p:nvPr/>
        </p:nvSpPr>
        <p:spPr>
          <a:xfrm>
            <a:off x="408576" y="1816563"/>
            <a:ext cx="5400000" cy="2416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宏观择时模型得分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为</a:t>
            </a:r>
            <a:r>
              <a:rPr kumimoji="1" lang="en-US" altLang="zh-CN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64.9%</a:t>
            </a: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，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信号转为中性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xmlns="" id="{CEF6828B-FE48-28FA-CB96-7CE65429B576}"/>
              </a:ext>
            </a:extLst>
          </p:cNvPr>
          <p:cNvSpPr/>
          <p:nvPr/>
        </p:nvSpPr>
        <p:spPr>
          <a:xfrm>
            <a:off x="6360819" y="1816563"/>
            <a:ext cx="5400000" cy="2416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情绪择时指标得分为</a:t>
            </a:r>
            <a:r>
              <a:rPr kumimoji="1" lang="en-US" altLang="zh-CN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-</a:t>
            </a:r>
            <a:r>
              <a:rPr kumimoji="1" lang="en-US" altLang="zh-CN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1.58</a:t>
            </a:r>
            <a:r>
              <a:rPr kumimoji="1" lang="zh-CN" altLang="en-US" sz="1333" b="1" kern="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，</a:t>
            </a:r>
            <a:r>
              <a:rPr kumimoji="1" lang="zh-CN" altLang="en-US" sz="1333" b="1" kern="0" dirty="0" smtClean="0">
                <a:solidFill>
                  <a:srgbClr val="FFFFFF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信号维持在看空区间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FCDA1DD6-1993-F4B2-9FC8-68197E257036}"/>
              </a:ext>
            </a:extLst>
          </p:cNvPr>
          <p:cNvSpPr txBox="1"/>
          <p:nvPr/>
        </p:nvSpPr>
        <p:spPr>
          <a:xfrm>
            <a:off x="52004" y="2727098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多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8AA3CCBA-4630-1182-9BD0-F5ADD88E70CB}"/>
              </a:ext>
            </a:extLst>
          </p:cNvPr>
          <p:cNvSpPr txBox="1"/>
          <p:nvPr/>
        </p:nvSpPr>
        <p:spPr>
          <a:xfrm>
            <a:off x="172001" y="3080570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多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D7CC311B-D64D-5311-28B9-9F163C19B1AB}"/>
              </a:ext>
            </a:extLst>
          </p:cNvPr>
          <p:cNvSpPr txBox="1"/>
          <p:nvPr/>
        </p:nvSpPr>
        <p:spPr>
          <a:xfrm>
            <a:off x="156010" y="3628184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中性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CEB8ED70-EFD3-2EF1-F19E-958053670E79}"/>
              </a:ext>
            </a:extLst>
          </p:cNvPr>
          <p:cNvSpPr txBox="1"/>
          <p:nvPr/>
        </p:nvSpPr>
        <p:spPr>
          <a:xfrm>
            <a:off x="177106" y="4244662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空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D3891ADD-D734-C799-19C0-C0635ED5C06E}"/>
              </a:ext>
            </a:extLst>
          </p:cNvPr>
          <p:cNvSpPr txBox="1"/>
          <p:nvPr/>
        </p:nvSpPr>
        <p:spPr>
          <a:xfrm>
            <a:off x="58226" y="466007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空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90437085-CB7D-D8E8-44D2-9FD057892314}"/>
              </a:ext>
            </a:extLst>
          </p:cNvPr>
          <p:cNvSpPr txBox="1"/>
          <p:nvPr/>
        </p:nvSpPr>
        <p:spPr>
          <a:xfrm>
            <a:off x="6018716" y="252799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多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41488039-63C0-C401-5A89-8E3860F0F291}"/>
              </a:ext>
            </a:extLst>
          </p:cNvPr>
          <p:cNvSpPr txBox="1"/>
          <p:nvPr/>
        </p:nvSpPr>
        <p:spPr>
          <a:xfrm>
            <a:off x="6210059" y="3115213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多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xmlns="" id="{16392334-05A5-CC01-9975-D1A3F510F9B8}"/>
              </a:ext>
            </a:extLst>
          </p:cNvPr>
          <p:cNvSpPr txBox="1"/>
          <p:nvPr/>
        </p:nvSpPr>
        <p:spPr>
          <a:xfrm>
            <a:off x="6176916" y="3497381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中性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xmlns="" id="{89EFA3B8-C7F1-D0A3-C861-DF76DE64F9AB}"/>
              </a:ext>
            </a:extLst>
          </p:cNvPr>
          <p:cNvSpPr txBox="1"/>
          <p:nvPr/>
        </p:nvSpPr>
        <p:spPr>
          <a:xfrm>
            <a:off x="6217703" y="4016299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看空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914C53FD-6FD6-D8EE-DC12-4634389AE903}"/>
              </a:ext>
            </a:extLst>
          </p:cNvPr>
          <p:cNvSpPr txBox="1"/>
          <p:nvPr/>
        </p:nvSpPr>
        <p:spPr>
          <a:xfrm>
            <a:off x="6073218" y="4529270"/>
            <a:ext cx="7007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2438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rPr>
              <a:t>强烈看空</a:t>
            </a:r>
          </a:p>
        </p:txBody>
      </p:sp>
      <p:graphicFrame>
        <p:nvGraphicFramePr>
          <p:cNvPr id="20" name="图表 19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C3FC4BE8-7D9D-43E6-96F4-56C4C98427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7398806"/>
              </p:ext>
            </p:extLst>
          </p:nvPr>
        </p:nvGraphicFramePr>
        <p:xfrm>
          <a:off x="6657401" y="2184272"/>
          <a:ext cx="5028112" cy="3411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图表 20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E5C0E6F9-6F12-B3AE-0BC3-3FE589ED50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9492773"/>
              </p:ext>
            </p:extLst>
          </p:nvPr>
        </p:nvGraphicFramePr>
        <p:xfrm>
          <a:off x="474418" y="2349189"/>
          <a:ext cx="4577443" cy="3081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4598676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2F636E0-9AEC-280D-12D7-0D65916741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D84842CE-51AD-E7C4-0F86-A65B40BE8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73908280-1772-7C46-5F59-01B1DD9E1C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信号为</a:t>
            </a:r>
            <a:r>
              <a:rPr lang="zh-CN" altLang="en-US" sz="2667" b="1" kern="0" dirty="0" smtClean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小幅看空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CAA751AB-99E3-C27B-A6C3-022267270580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以组合仓位作为综合择时信号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预计信号在周二转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45%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；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组合实际仓位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48.44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上周并未进行调仓。</a:t>
            </a: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306081E3-E253-CAD0-0660-972EDC58DB6A}"/>
              </a:ext>
            </a:extLst>
          </p:cNvPr>
          <p:cNvSpPr txBox="1"/>
          <p:nvPr/>
        </p:nvSpPr>
        <p:spPr>
          <a:xfrm>
            <a:off x="113007" y="6033011"/>
            <a:ext cx="9834463" cy="12003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注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综合择时指标以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股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债作为配置基准，宏观因子择时模型生成初始仓位：强烈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8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6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中性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强烈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；再根据情绪择时指标小幅调整仓位：强烈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1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看多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+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中性不调整，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强烈看空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-1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因此信号仓位区间在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0%-90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.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在具体回测时，我们跳过了调仓幅度小于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5%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的调仓信号；</a:t>
            </a:r>
            <a:r>
              <a:rPr kumimoji="0" lang="en-US" altLang="zh-CN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-5</a:t>
            </a:r>
            <a:r>
              <a:rPr kumimoji="0" lang="zh-CN" altLang="en-US" sz="9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准每年进行再平衡</a:t>
            </a:r>
          </a:p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zh-CN" altLang="en-US" sz="9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R="0" lvl="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642" y="1690416"/>
            <a:ext cx="9259769" cy="390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74827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34B3ADB-2BFB-B701-B8B4-122929BC31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792F12D9-71E0-8C7F-1625-688E2526D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06B52891-C0DB-DF79-FA38-D26ABFDAB4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指标策略收益率情况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2EA50494-FA58-4A7B-2F57-4AF533607EB6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近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5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个交易日，组合总收益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0.56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与基准基本持平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kumimoji="0" lang="en-US" altLang="zh-CN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332" y="2856930"/>
            <a:ext cx="5666667" cy="1571429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7194" y="1778282"/>
            <a:ext cx="5362575" cy="3933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00871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BE771B96-7B27-72AF-8BF9-B83BCD16E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E6EE656F-21A5-6BB4-BDC8-F0179CA79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7896BBEA-0F74-06A4-E2E1-41005305A8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综合择时指标策略长周期结果展示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2AAF50B1-C286-7D3D-1A15-72D0E9FBD744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自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20.4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以来的总收益率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78.14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最大回撤为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7.44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夏普比率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10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449" y="2381333"/>
            <a:ext cx="2895238" cy="276190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6386" y="2203615"/>
            <a:ext cx="4425522" cy="325835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5624" y="2238398"/>
            <a:ext cx="4375678" cy="3188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69156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7CE5000-A238-1296-0211-601303B3B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59D6071C-8924-FB2F-63ED-C30A88AC40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宏观因子择时模型细项</a:t>
            </a:r>
            <a:endParaRPr kumimoji="0" lang="en-US" altLang="zh-CN" sz="2667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7EB7E744-E9BC-D5BA-BEC6-B589B8A03DC6}"/>
              </a:ext>
            </a:extLst>
          </p:cNvPr>
          <p:cNvSpPr txBox="1"/>
          <p:nvPr/>
        </p:nvSpPr>
        <p:spPr>
          <a:xfrm>
            <a:off x="352352" y="809372"/>
            <a:ext cx="11774659" cy="11272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宏观因子择时模型</a:t>
            </a:r>
            <a:r>
              <a:rPr lang="zh-CN" altLang="en-US" sz="1450" b="1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打分下降主要因高频指标回落，受出口波动影响：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上周美国进口订舱量同比回落，或指向美国未来进口需求边际回落。</a:t>
            </a:r>
            <a:endParaRPr lang="en-US" altLang="zh-CN" sz="1450" kern="0" dirty="0">
              <a:solidFill>
                <a:srgbClr val="000000"/>
              </a:solidFill>
              <a:latin typeface="Arial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marR="0" lvl="0" indent="-285750" algn="l" defTabSz="3251037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高频其他方面：①消费：尽管</a:t>
            </a:r>
            <a:r>
              <a:rPr kumimoji="0" lang="en-US" altLang="zh-CN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1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月下半月商品销售同比好于上半月，但前三周汽车、家电销量均是两位数负增长，意味着社零仍有较大压力；②地产压力依然较大，新房、二手房销量均降幅扩大，京沪二手房价格降幅也有所扩大，基建仍受困于缺项目痼疾。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xmlns="" id="{24AEE667-AE95-03E8-5A15-B2074FA6A720}"/>
              </a:ext>
            </a:extLst>
          </p:cNvPr>
          <p:cNvSpPr/>
          <p:nvPr/>
        </p:nvSpPr>
        <p:spPr>
          <a:xfrm>
            <a:off x="625311" y="2619105"/>
            <a:ext cx="5749363" cy="35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宏观择时模型打分下降，主要缘于高频指标回落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xmlns="" id="{2462F58A-9B8B-9762-9704-02C387023376}"/>
              </a:ext>
            </a:extLst>
          </p:cNvPr>
          <p:cNvSpPr/>
          <p:nvPr/>
        </p:nvSpPr>
        <p:spPr>
          <a:xfrm>
            <a:off x="6537961" y="2619105"/>
            <a:ext cx="5185954" cy="35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25111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33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高频经济指标同比增速</a:t>
            </a:r>
            <a:endParaRPr kumimoji="1" lang="en-US" altLang="zh-CN" sz="1333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xmlns="" id="{DA178699-FFAC-419B-8027-7B43760C6CF1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537961" y="3465513"/>
          <a:ext cx="4828726" cy="2856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xmlns="" id="{23E61066-D394-4C6F-B040-E0F63CAC6C6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82096" y="3070018"/>
          <a:ext cx="5631240" cy="3389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1095993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A60D191E-15DB-1141-7B24-C005E1F4AB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A5A9678E-525F-3AB4-EEAA-FEE973109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A08E28DA-8F7E-E474-FCFF-70C441F501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情绪择时指标细项情况</a:t>
            </a: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xmlns="" id="{B60D5A1F-25F2-B037-7754-1C7840E7D0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0632589"/>
              </p:ext>
            </p:extLst>
          </p:nvPr>
        </p:nvGraphicFramePr>
        <p:xfrm>
          <a:off x="634906" y="2053834"/>
          <a:ext cx="5106800" cy="3149750"/>
        </p:xfrm>
        <a:graphic>
          <a:graphicData uri="http://schemas.openxmlformats.org/drawingml/2006/table">
            <a:tbl>
              <a:tblPr/>
              <a:tblGrid>
                <a:gridCol w="4252355">
                  <a:extLst>
                    <a:ext uri="{9D8B030D-6E8A-4147-A177-3AD203B41FA5}">
                      <a16:colId xmlns:a16="http://schemas.microsoft.com/office/drawing/2014/main" xmlns="" val="1779177242"/>
                    </a:ext>
                  </a:extLst>
                </a:gridCol>
                <a:gridCol w="854445">
                  <a:extLst>
                    <a:ext uri="{9D8B030D-6E8A-4147-A177-3AD203B41FA5}">
                      <a16:colId xmlns:a16="http://schemas.microsoft.com/office/drawing/2014/main" xmlns="" val="1318616992"/>
                    </a:ext>
                  </a:extLst>
                </a:gridCol>
              </a:tblGrid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情绪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0793550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6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日均线上方个股占比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中性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21640045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涨跌停数量占比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看空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57560330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资金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02572218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融资融券情况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中性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楷体" panose="02010609060101010101" pitchFamily="49" charset="-122"/>
                        <a:ea typeface="楷体" panose="02010609060101010101" pitchFamily="49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21094580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陆股通交易额占比历史分位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强烈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56595373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技术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78908227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RSI（30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日）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小幅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90602381"/>
                  </a:ext>
                </a:extLst>
              </a:tr>
              <a:tr h="314975">
                <a:tc gridSpan="2">
                  <a:txBody>
                    <a:bodyPr/>
                    <a:lstStyle/>
                    <a:p>
                      <a:pPr algn="l" rtl="0" fontAlgn="ctr"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市场估值面指标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21687134"/>
                  </a:ext>
                </a:extLst>
              </a:tr>
              <a:tr h="314975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股权风险溢价</a:t>
                      </a:r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ERP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楷体" panose="02010609060101010101" pitchFamily="49" charset="-122"/>
                          <a:ea typeface="楷体" panose="02010609060101010101" pitchFamily="49" charset="-122"/>
                        </a:rPr>
                        <a:t>看空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37154910"/>
                  </a:ext>
                </a:extLst>
              </a:tr>
            </a:tbl>
          </a:graphicData>
        </a:graphic>
      </p:graphicFrame>
      <p:grpSp>
        <p:nvGrpSpPr>
          <p:cNvPr id="28" name="组合 27">
            <a:extLst>
              <a:ext uri="{FF2B5EF4-FFF2-40B4-BE49-F238E27FC236}">
                <a16:creationId xmlns:a16="http://schemas.microsoft.com/office/drawing/2014/main" xmlns="" id="{B36AC4DD-812D-F2C2-2CBA-51B0A71855FF}"/>
              </a:ext>
            </a:extLst>
          </p:cNvPr>
          <p:cNvGrpSpPr/>
          <p:nvPr/>
        </p:nvGrpSpPr>
        <p:grpSpPr>
          <a:xfrm>
            <a:off x="698594" y="980916"/>
            <a:ext cx="10858500" cy="4896168"/>
            <a:chOff x="655546" y="1162024"/>
            <a:chExt cx="10858500" cy="4896168"/>
          </a:xfrm>
        </p:grpSpPr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xmlns="" id="{0ADAAA48-03C9-6221-77DC-48FE87DBB7A3}"/>
                </a:ext>
              </a:extLst>
            </p:cNvPr>
            <p:cNvGrpSpPr/>
            <p:nvPr/>
          </p:nvGrpSpPr>
          <p:grpSpPr>
            <a:xfrm>
              <a:off x="779464" y="1669970"/>
              <a:ext cx="10619804" cy="4388222"/>
              <a:chOff x="779464" y="1903769"/>
              <a:chExt cx="10619804" cy="4388222"/>
            </a:xfrm>
          </p:grpSpPr>
          <p:sp>
            <p:nvSpPr>
              <p:cNvPr id="31" name="矩形 30">
                <a:extLst>
                  <a:ext uri="{FF2B5EF4-FFF2-40B4-BE49-F238E27FC236}">
                    <a16:creationId xmlns:a16="http://schemas.microsoft.com/office/drawing/2014/main" xmlns="" id="{1CD8FFEB-1269-E04D-E254-CB2D2EEB76B0}"/>
                  </a:ext>
                </a:extLst>
              </p:cNvPr>
              <p:cNvSpPr/>
              <p:nvPr/>
            </p:nvSpPr>
            <p:spPr bwMode="auto">
              <a:xfrm>
                <a:off x="779464" y="4690159"/>
                <a:ext cx="3247529" cy="9550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xmlns="" id="{2606814A-AA4C-71F1-4E90-FDD53AAEEDC8}"/>
                  </a:ext>
                </a:extLst>
              </p:cNvPr>
              <p:cNvSpPr/>
              <p:nvPr/>
            </p:nvSpPr>
            <p:spPr bwMode="auto">
              <a:xfrm flipH="1">
                <a:off x="8151739" y="3132192"/>
                <a:ext cx="3247529" cy="9484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xmlns="" id="{2AD8E901-A8A3-8761-68E7-2CDD5148ECBC}"/>
                  </a:ext>
                </a:extLst>
              </p:cNvPr>
              <p:cNvSpPr/>
              <p:nvPr/>
            </p:nvSpPr>
            <p:spPr bwMode="auto">
              <a:xfrm flipH="1">
                <a:off x="8107753" y="4828889"/>
                <a:ext cx="3247529" cy="14631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ndara" panose="020E0502030303020204" pitchFamily="34" charset="0"/>
                  <a:ea typeface="华文楷体" panose="02010600040101010101" pitchFamily="2" charset="-122"/>
                </a:endParaRPr>
              </a:p>
            </p:txBody>
          </p:sp>
          <p:grpSp>
            <p:nvGrpSpPr>
              <p:cNvPr id="34" name="组合 33">
                <a:extLst>
                  <a:ext uri="{FF2B5EF4-FFF2-40B4-BE49-F238E27FC236}">
                    <a16:creationId xmlns:a16="http://schemas.microsoft.com/office/drawing/2014/main" xmlns="" id="{50BC34E8-55F3-BF55-B533-49E7A5203148}"/>
                  </a:ext>
                </a:extLst>
              </p:cNvPr>
              <p:cNvGrpSpPr/>
              <p:nvPr/>
            </p:nvGrpSpPr>
            <p:grpSpPr>
              <a:xfrm>
                <a:off x="6706858" y="1903769"/>
                <a:ext cx="4376164" cy="4375349"/>
                <a:chOff x="6757354" y="1027290"/>
                <a:chExt cx="4842800" cy="4841898"/>
              </a:xfrm>
            </p:grpSpPr>
            <p:grpSp>
              <p:nvGrpSpPr>
                <p:cNvPr id="35" name="组合 34">
                  <a:extLst>
                    <a:ext uri="{FF2B5EF4-FFF2-40B4-BE49-F238E27FC236}">
                      <a16:creationId xmlns:a16="http://schemas.microsoft.com/office/drawing/2014/main" xmlns="" id="{FB3C6D98-E3B4-0559-76EA-DB8D45EA2141}"/>
                    </a:ext>
                  </a:extLst>
                </p:cNvPr>
                <p:cNvGrpSpPr/>
                <p:nvPr/>
              </p:nvGrpSpPr>
              <p:grpSpPr>
                <a:xfrm>
                  <a:off x="7362970" y="1027290"/>
                  <a:ext cx="2473570" cy="2508963"/>
                  <a:chOff x="7362970" y="1027290"/>
                  <a:chExt cx="2473570" cy="2508963"/>
                </a:xfrm>
              </p:grpSpPr>
              <p:sp>
                <p:nvSpPr>
                  <p:cNvPr id="45" name="任意多边形: 形状 44">
                    <a:extLst>
                      <a:ext uri="{FF2B5EF4-FFF2-40B4-BE49-F238E27FC236}">
                        <a16:creationId xmlns:a16="http://schemas.microsoft.com/office/drawing/2014/main" xmlns="" id="{85E360D2-7264-0F47-5CBA-71B0E85B679D}"/>
                      </a:ext>
                    </a:extLst>
                  </p:cNvPr>
                  <p:cNvSpPr/>
                  <p:nvPr/>
                </p:nvSpPr>
                <p:spPr bwMode="auto">
                  <a:xfrm rot="19397468">
                    <a:off x="7362970" y="1027290"/>
                    <a:ext cx="2473570" cy="2508963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C30F1B">
                          <a:lumMod val="60000"/>
                          <a:lumOff val="40000"/>
                        </a:srgbClr>
                      </a:gs>
                      <a:gs pos="75000">
                        <a:srgbClr val="C30F1B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BA9873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6" name="文本框 45">
                    <a:extLst>
                      <a:ext uri="{FF2B5EF4-FFF2-40B4-BE49-F238E27FC236}">
                        <a16:creationId xmlns:a16="http://schemas.microsoft.com/office/drawing/2014/main" xmlns="" id="{662B80D9-F37C-88C9-92B1-874923565C55}"/>
                      </a:ext>
                    </a:extLst>
                  </p:cNvPr>
                  <p:cNvSpPr txBox="1"/>
                  <p:nvPr/>
                </p:nvSpPr>
                <p:spPr>
                  <a:xfrm>
                    <a:off x="8250940" y="1773940"/>
                    <a:ext cx="697627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S</a:t>
                    </a:r>
                    <a:r>
                      <a:rPr kumimoji="0" 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entiment</a:t>
                    </a:r>
                    <a:endParaRPr kumimoji="0" lang="en-US" sz="6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6" name="组合 35">
                  <a:extLst>
                    <a:ext uri="{FF2B5EF4-FFF2-40B4-BE49-F238E27FC236}">
                      <a16:creationId xmlns:a16="http://schemas.microsoft.com/office/drawing/2014/main" xmlns="" id="{569D00D8-07E7-8262-2067-85FD0F2BE4EF}"/>
                    </a:ext>
                  </a:extLst>
                </p:cNvPr>
                <p:cNvGrpSpPr/>
                <p:nvPr/>
              </p:nvGrpSpPr>
              <p:grpSpPr>
                <a:xfrm>
                  <a:off x="9090866" y="1629743"/>
                  <a:ext cx="2509288" cy="2473249"/>
                  <a:chOff x="9090866" y="1629743"/>
                  <a:chExt cx="2509288" cy="2473249"/>
                </a:xfrm>
              </p:grpSpPr>
              <p:sp>
                <p:nvSpPr>
                  <p:cNvPr id="43" name="任意多边形: 形状 42">
                    <a:extLst>
                      <a:ext uri="{FF2B5EF4-FFF2-40B4-BE49-F238E27FC236}">
                        <a16:creationId xmlns:a16="http://schemas.microsoft.com/office/drawing/2014/main" xmlns="" id="{DD5E2252-3675-8E19-555E-5E50163510D0}"/>
                      </a:ext>
                    </a:extLst>
                  </p:cNvPr>
                  <p:cNvSpPr/>
                  <p:nvPr/>
                </p:nvSpPr>
                <p:spPr bwMode="auto">
                  <a:xfrm rot="3202081">
                    <a:off x="9108885" y="1611724"/>
                    <a:ext cx="2473249" cy="2509288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BA9873">
                          <a:lumMod val="60000"/>
                          <a:lumOff val="40000"/>
                        </a:srgbClr>
                      </a:gs>
                      <a:gs pos="75000">
                        <a:srgbClr val="BA9873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BA9873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4" name="文本框 43">
                    <a:extLst>
                      <a:ext uri="{FF2B5EF4-FFF2-40B4-BE49-F238E27FC236}">
                        <a16:creationId xmlns:a16="http://schemas.microsoft.com/office/drawing/2014/main" xmlns="" id="{08C6B20D-B733-DB1F-61B0-3A1FE638123C}"/>
                      </a:ext>
                    </a:extLst>
                  </p:cNvPr>
                  <p:cNvSpPr txBox="1"/>
                  <p:nvPr/>
                </p:nvSpPr>
                <p:spPr>
                  <a:xfrm>
                    <a:off x="10116080" y="2351003"/>
                    <a:ext cx="910827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T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echnical</a:t>
                    </a: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7" name="组合 36">
                  <a:extLst>
                    <a:ext uri="{FF2B5EF4-FFF2-40B4-BE49-F238E27FC236}">
                      <a16:creationId xmlns:a16="http://schemas.microsoft.com/office/drawing/2014/main" xmlns="" id="{E6BE56F9-CB06-F028-4C2E-0E00E04C78F2}"/>
                    </a:ext>
                  </a:extLst>
                </p:cNvPr>
                <p:cNvGrpSpPr/>
                <p:nvPr/>
              </p:nvGrpSpPr>
              <p:grpSpPr>
                <a:xfrm>
                  <a:off x="8520044" y="3360226"/>
                  <a:ext cx="2473570" cy="2508962"/>
                  <a:chOff x="8520044" y="3360226"/>
                  <a:chExt cx="2473570" cy="2508962"/>
                </a:xfrm>
              </p:grpSpPr>
              <p:sp>
                <p:nvSpPr>
                  <p:cNvPr id="41" name="任意多边形: 形状 40">
                    <a:extLst>
                      <a:ext uri="{FF2B5EF4-FFF2-40B4-BE49-F238E27FC236}">
                        <a16:creationId xmlns:a16="http://schemas.microsoft.com/office/drawing/2014/main" xmlns="" id="{0E5CA2F5-F78B-5A69-214B-62AE8410A120}"/>
                      </a:ext>
                    </a:extLst>
                  </p:cNvPr>
                  <p:cNvSpPr/>
                  <p:nvPr/>
                </p:nvSpPr>
                <p:spPr bwMode="auto">
                  <a:xfrm rot="8579122">
                    <a:off x="8520044" y="3360226"/>
                    <a:ext cx="2473570" cy="2508962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C8C8C8">
                          <a:lumMod val="60000"/>
                          <a:lumOff val="40000"/>
                        </a:srgbClr>
                      </a:gs>
                      <a:gs pos="75000">
                        <a:srgbClr val="C8C8C8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C8C8C8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2" name="文本框 41">
                    <a:extLst>
                      <a:ext uri="{FF2B5EF4-FFF2-40B4-BE49-F238E27FC236}">
                        <a16:creationId xmlns:a16="http://schemas.microsoft.com/office/drawing/2014/main" xmlns="" id="{92BA72D0-7BD4-3DEA-4DE5-151863C0A7FB}"/>
                      </a:ext>
                    </a:extLst>
                  </p:cNvPr>
                  <p:cNvSpPr txBox="1"/>
                  <p:nvPr/>
                </p:nvSpPr>
                <p:spPr>
                  <a:xfrm>
                    <a:off x="9365536" y="4106875"/>
                    <a:ext cx="782586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V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 aluation</a:t>
                    </a: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  <p:grpSp>
              <p:nvGrpSpPr>
                <p:cNvPr id="38" name="组合 37">
                  <a:extLst>
                    <a:ext uri="{FF2B5EF4-FFF2-40B4-BE49-F238E27FC236}">
                      <a16:creationId xmlns:a16="http://schemas.microsoft.com/office/drawing/2014/main" xmlns="" id="{A952D8A5-F73A-AF11-1EF0-10240D3AAA06}"/>
                    </a:ext>
                  </a:extLst>
                </p:cNvPr>
                <p:cNvGrpSpPr/>
                <p:nvPr/>
              </p:nvGrpSpPr>
              <p:grpSpPr>
                <a:xfrm>
                  <a:off x="6757354" y="2805757"/>
                  <a:ext cx="2509288" cy="2473248"/>
                  <a:chOff x="6757354" y="2805757"/>
                  <a:chExt cx="2509288" cy="2473248"/>
                </a:xfrm>
              </p:grpSpPr>
              <p:sp>
                <p:nvSpPr>
                  <p:cNvPr id="39" name="任意多边形: 形状 38">
                    <a:extLst>
                      <a:ext uri="{FF2B5EF4-FFF2-40B4-BE49-F238E27FC236}">
                        <a16:creationId xmlns:a16="http://schemas.microsoft.com/office/drawing/2014/main" xmlns="" id="{AEBFC19B-5CF8-82AF-BD07-D05D728C307A}"/>
                      </a:ext>
                    </a:extLst>
                  </p:cNvPr>
                  <p:cNvSpPr/>
                  <p:nvPr/>
                </p:nvSpPr>
                <p:spPr bwMode="auto">
                  <a:xfrm rot="13978264">
                    <a:off x="6775374" y="2787737"/>
                    <a:ext cx="2473248" cy="2509288"/>
                  </a:xfrm>
                  <a:custGeom>
                    <a:avLst/>
                    <a:gdLst>
                      <a:gd name="T0" fmla="*/ 3563 w 10688"/>
                      <a:gd name="T1" fmla="*/ 7062 h 10844"/>
                      <a:gd name="T2" fmla="*/ 3563 w 10688"/>
                      <a:gd name="T3" fmla="*/ 7062 h 10844"/>
                      <a:gd name="T4" fmla="*/ 4563 w 10688"/>
                      <a:gd name="T5" fmla="*/ 10749 h 10844"/>
                      <a:gd name="T6" fmla="*/ 7937 w 10688"/>
                      <a:gd name="T7" fmla="*/ 9812 h 10844"/>
                      <a:gd name="T8" fmla="*/ 9062 w 10688"/>
                      <a:gd name="T9" fmla="*/ 2782 h 10844"/>
                      <a:gd name="T10" fmla="*/ 2032 w 10688"/>
                      <a:gd name="T11" fmla="*/ 1626 h 10844"/>
                      <a:gd name="T12" fmla="*/ 0 w 10688"/>
                      <a:gd name="T13" fmla="*/ 4907 h 10844"/>
                      <a:gd name="T14" fmla="*/ 3563 w 10688"/>
                      <a:gd name="T15" fmla="*/ 7062 h 108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688" h="10844">
                        <a:moveTo>
                          <a:pt x="3563" y="7062"/>
                        </a:moveTo>
                        <a:lnTo>
                          <a:pt x="3563" y="7062"/>
                        </a:lnTo>
                        <a:cubicBezTo>
                          <a:pt x="4375" y="8187"/>
                          <a:pt x="4688" y="9500"/>
                          <a:pt x="4563" y="10749"/>
                        </a:cubicBezTo>
                        <a:cubicBezTo>
                          <a:pt x="5718" y="10843"/>
                          <a:pt x="6906" y="10562"/>
                          <a:pt x="7937" y="9812"/>
                        </a:cubicBezTo>
                        <a:cubicBezTo>
                          <a:pt x="10187" y="8187"/>
                          <a:pt x="10687" y="5032"/>
                          <a:pt x="9062" y="2782"/>
                        </a:cubicBezTo>
                        <a:cubicBezTo>
                          <a:pt x="7437" y="500"/>
                          <a:pt x="4282" y="0"/>
                          <a:pt x="2032" y="1626"/>
                        </a:cubicBezTo>
                        <a:cubicBezTo>
                          <a:pt x="907" y="2438"/>
                          <a:pt x="219" y="3657"/>
                          <a:pt x="0" y="4907"/>
                        </a:cubicBezTo>
                        <a:cubicBezTo>
                          <a:pt x="1375" y="5126"/>
                          <a:pt x="2688" y="5843"/>
                          <a:pt x="3563" y="7062"/>
                        </a:cubicBezTo>
                      </a:path>
                    </a:pathLst>
                  </a:custGeom>
                  <a:gradFill flip="none" rotWithShape="1">
                    <a:gsLst>
                      <a:gs pos="0">
                        <a:srgbClr val="8E1515">
                          <a:lumMod val="60000"/>
                          <a:lumOff val="40000"/>
                        </a:srgbClr>
                      </a:gs>
                      <a:gs pos="75000">
                        <a:srgbClr val="8E1515"/>
                      </a:gs>
                    </a:gsLst>
                    <a:lin ang="27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>
                    <a:outerShdw blurRad="127000" dist="63500" dir="2700000" algn="tl" rotWithShape="0">
                      <a:srgbClr val="8E1515">
                        <a:alpha val="15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/>
                      <a:ea typeface="华文楷体"/>
                      <a:cs typeface="+mn-cs"/>
                    </a:endParaRPr>
                  </a:p>
                </p:txBody>
              </p:sp>
              <p:sp>
                <p:nvSpPr>
                  <p:cNvPr id="40" name="文本框 39">
                    <a:extLst>
                      <a:ext uri="{FF2B5EF4-FFF2-40B4-BE49-F238E27FC236}">
                        <a16:creationId xmlns:a16="http://schemas.microsoft.com/office/drawing/2014/main" xmlns="" id="{94309ECB-1CB8-905E-448C-D897B400304D}"/>
                      </a:ext>
                    </a:extLst>
                  </p:cNvPr>
                  <p:cNvSpPr txBox="1"/>
                  <p:nvPr/>
                </p:nvSpPr>
                <p:spPr>
                  <a:xfrm>
                    <a:off x="7596596" y="3525309"/>
                    <a:ext cx="654344" cy="1015663"/>
                  </a:xfrm>
                  <a:prstGeom prst="rect">
                    <a:avLst/>
                  </a:prstGeom>
                  <a:noFill/>
                </p:spPr>
                <p:txBody>
                  <a:bodyPr wrap="none">
                    <a:normAutofit lnSpcReduction="10000"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6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L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华文楷体" panose="02010600040101010101" pitchFamily="2" charset="-122"/>
                      </a:rPr>
                      <a:t>iquidity</a:t>
                    </a:r>
                    <a:endParaRPr kumimoji="0" lang="en-US" sz="6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华文楷体" panose="02010600040101010101" pitchFamily="2" charset="-122"/>
                    </a:endParaRPr>
                  </a:p>
                </p:txBody>
              </p:sp>
            </p:grpSp>
          </p:grpSp>
        </p:grp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xmlns="" id="{8A7E93B8-78D9-C271-E5DA-FF63BF862E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546" y="1162024"/>
              <a:ext cx="10858500" cy="65758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tabLst/>
                <a:defRPr/>
              </a:pPr>
              <a:endPara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ndara" panose="020E0502030303020204" pitchFamily="34" charset="0"/>
                <a:ea typeface="华文楷体" panose="0201060004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0516099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10941DE5-6494-4C4E-109D-DB79C738E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F4B8FF25-A45B-67B6-4C1E-F0F03838E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DD30B0F5-574A-1F99-AFAC-B94C4BFA2A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60</a:t>
            </a: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日均线上方个股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3E52FA0F-87A6-4C33-1AF4-7C8A26C4A30C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强势股占比</a:t>
            </a:r>
            <a:r>
              <a:rPr kumimoji="0" lang="zh-CN" altLang="en-US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37.25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中性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47880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3AD1CDC2-AE48-6F6C-5B4E-1F6A6E0A8C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xmlns="" id="{2606AF32-45F5-D101-D16A-D7290C40E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59302" y="6371039"/>
            <a:ext cx="344001" cy="33855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913308-F349-4B6D-A68A-DD1791B4A57B}" type="slidenum"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/>
                <a:sym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xmlns="" id="{4CA4576A-5905-4687-C91A-71515F895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" y="68628"/>
            <a:ext cx="12126219" cy="50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503" tIns="48751" rIns="97503" bIns="4875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3251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67" b="1" kern="0" dirty="0">
                <a:solidFill>
                  <a:srgbClr val="C00000"/>
                </a:solidFill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涨停数量占比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65916EFC-30ED-40B5-DD9B-EA720CEBEC9B}"/>
              </a:ext>
            </a:extLst>
          </p:cNvPr>
          <p:cNvSpPr txBox="1"/>
          <p:nvPr/>
        </p:nvSpPr>
        <p:spPr>
          <a:xfrm>
            <a:off x="113007" y="902133"/>
            <a:ext cx="11965985" cy="3924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t">
            <a:spAutoFit/>
          </a:bodyPr>
          <a:lstStyle/>
          <a:p>
            <a:pPr marL="285750" marR="0" lvl="0" indent="-285750" algn="l" defTabSz="3251037" rtl="0" eaLnBrk="1" fontAlgn="auto" latinLnBrk="0" hangingPunct="0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截至上周，涨停数量占比为</a:t>
            </a:r>
            <a:r>
              <a:rPr kumimoji="0" lang="en-US" altLang="zh-CN" sz="145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52%</a:t>
            </a:r>
            <a:r>
              <a:rPr kumimoji="0" lang="zh-CN" altLang="en-US" sz="145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，当前信号为中性</a:t>
            </a:r>
            <a:r>
              <a:rPr lang="zh-CN" altLang="en-US" sz="1450" kern="0" dirty="0">
                <a:solidFill>
                  <a:srgbClr val="000000"/>
                </a:solidFill>
                <a:latin typeface="Arial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kumimoji="0" lang="zh-CN" altLang="en-US" sz="145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1385887"/>
            <a:ext cx="1037272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0067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Office 主题​​">
  <a:themeElements>
    <a:clrScheme name="Office 主题​​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C3649"/>
      </a:accent1>
      <a:accent2>
        <a:srgbClr val="6A868F"/>
      </a:accent2>
      <a:accent3>
        <a:srgbClr val="31778D"/>
      </a:accent3>
      <a:accent4>
        <a:srgbClr val="D6C88B"/>
      </a:accent4>
      <a:accent5>
        <a:srgbClr val="D66E49"/>
      </a:accent5>
      <a:accent6>
        <a:srgbClr val="649EB2"/>
      </a:accent6>
      <a:hlink>
        <a:srgbClr val="0000FF"/>
      </a:hlink>
      <a:folHlink>
        <a:srgbClr val="FF00FF"/>
      </a:folHlink>
    </a:clrScheme>
    <a:fontScheme name="5ahktbec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2438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2438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White">
  <a:themeElements>
    <a:clrScheme name="Custom 2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C00000"/>
      </a:accent1>
      <a:accent2>
        <a:srgbClr val="6F2926"/>
      </a:accent2>
      <a:accent3>
        <a:srgbClr val="CF7875"/>
      </a:accent3>
      <a:accent4>
        <a:srgbClr val="E5B4B2"/>
      </a:accent4>
      <a:accent5>
        <a:srgbClr val="F4E1E0"/>
      </a:accent5>
      <a:accent6>
        <a:srgbClr val="FFD147"/>
      </a:accent6>
      <a:hlink>
        <a:srgbClr val="0000FF"/>
      </a:hlink>
      <a:folHlink>
        <a:srgbClr val="800080"/>
      </a:folHlink>
    </a:clrScheme>
    <a:fontScheme name="Custom 317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4A1B19"/>
        </a:accent1>
        <a:accent2>
          <a:srgbClr val="6F2926"/>
        </a:accent2>
        <a:accent3>
          <a:srgbClr val="CF7875"/>
        </a:accent3>
        <a:accent4>
          <a:srgbClr val="E5B4B2"/>
        </a:accent4>
        <a:accent5>
          <a:srgbClr val="F4E1E0"/>
        </a:accent5>
        <a:accent6>
          <a:srgbClr val="FFD14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carlett Lin.potx" id="{DA3DAAC1-59D6-498E-AA2D-BAFB318DA648}" vid="{144B9AF7-3219-45B9-B3E1-112F2C81400F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04098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自定义 1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04098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长江宏观">
    <a:dk1>
      <a:sysClr val="windowText" lastClr="000000"/>
    </a:dk1>
    <a:lt1>
      <a:sysClr val="window" lastClr="FFFFFF"/>
    </a:lt1>
    <a:dk2>
      <a:srgbClr val="004678"/>
    </a:dk2>
    <a:lt2>
      <a:srgbClr val="EEECE1"/>
    </a:lt2>
    <a:accent1>
      <a:srgbClr val="E10000"/>
    </a:accent1>
    <a:accent2>
      <a:srgbClr val="595959"/>
    </a:accent2>
    <a:accent3>
      <a:srgbClr val="DCB464"/>
    </a:accent3>
    <a:accent4>
      <a:srgbClr val="BFBFBF"/>
    </a:accent4>
    <a:accent5>
      <a:srgbClr val="FFC000"/>
    </a:accent5>
    <a:accent6>
      <a:srgbClr val="F3973E"/>
    </a:accent6>
    <a:hlink>
      <a:srgbClr val="CC9900"/>
    </a:hlink>
    <a:folHlink>
      <a:srgbClr val="7F7F7F"/>
    </a:folHlink>
  </a:clrScheme>
  <a:fontScheme name="长江宏观_PPT">
    <a:majorFont>
      <a:latin typeface="Arial"/>
      <a:ea typeface="Microsoft YaHei"/>
      <a:cs typeface=""/>
    </a:majorFont>
    <a:minorFont>
      <a:latin typeface="Arial"/>
      <a:ea typeface="Microsoft YaHe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146</TotalTime>
  <Words>725</Words>
  <Application>Microsoft Office PowerPoint</Application>
  <PresentationFormat>宽屏</PresentationFormat>
  <Paragraphs>86</Paragraphs>
  <Slides>15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31" baseType="lpstr">
      <vt:lpstr>等线</vt:lpstr>
      <vt:lpstr>仿宋_GB2312</vt:lpstr>
      <vt:lpstr>华文楷体</vt:lpstr>
      <vt:lpstr>楷体</vt:lpstr>
      <vt:lpstr>宋体</vt:lpstr>
      <vt:lpstr>微软雅黑</vt:lpstr>
      <vt:lpstr>微软雅黑</vt:lpstr>
      <vt:lpstr>Arial</vt:lpstr>
      <vt:lpstr>Candara</vt:lpstr>
      <vt:lpstr>Georgia</vt:lpstr>
      <vt:lpstr>Helvetica</vt:lpstr>
      <vt:lpstr>Segoe UI</vt:lpstr>
      <vt:lpstr>Wingdings</vt:lpstr>
      <vt:lpstr>1_Office 主题​​</vt:lpstr>
      <vt:lpstr>2_Whit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张 蓉蓉</dc:creator>
  <cp:lastModifiedBy>丁皓晨</cp:lastModifiedBy>
  <cp:revision>615</cp:revision>
  <dcterms:created xsi:type="dcterms:W3CDTF">2024-11-25T11:58:13Z</dcterms:created>
  <dcterms:modified xsi:type="dcterms:W3CDTF">2025-12-01T02:33:38Z</dcterms:modified>
</cp:coreProperties>
</file>